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582" r:id="rId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showGuides="1">
      <p:cViewPr varScale="1">
        <p:scale>
          <a:sx n="62" d="100"/>
          <a:sy n="62" d="100"/>
        </p:scale>
        <p:origin x="640" y="5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8.xml"/><Relationship Id="rId7"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xml"/><Relationship Id="rId7" Type="http://schemas.openxmlformats.org/officeDocument/2006/relationships/oleObject" Target="../embeddings/oleObject5.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53" imgH="353" progId="TCLayout.ActiveDocument.1">
                  <p:embed/>
                </p:oleObj>
              </mc:Choice>
              <mc:Fallback>
                <p:oleObj name="think-cell Slide" r:id="rId8" imgW="353" imgH="353" progId="TCLayout.ActiveDocument.1">
                  <p:embed/>
                  <p:pic>
                    <p:nvPicPr>
                      <p:cNvPr id="3" name="Object 2" hidden="1"/>
                      <p:cNvPicPr/>
                      <p:nvPr/>
                    </p:nvPicPr>
                    <p:blipFill>
                      <a:blip r:embed="rId9"/>
                      <a:stretch>
                        <a:fillRect/>
                      </a:stretch>
                    </p:blipFill>
                    <p:spPr>
                      <a:xfrm>
                        <a:off x="1588" y="1588"/>
                        <a:ext cx="1587" cy="1587"/>
                      </a:xfrm>
                      <a:prstGeom prst="rect">
                        <a:avLst/>
                      </a:prstGeom>
                    </p:spPr>
                  </p:pic>
                </p:oleObj>
              </mc:Fallback>
            </mc:AlternateContent>
          </a:graphicData>
        </a:graphic>
      </p:graphicFrame>
      <p:grpSp>
        <p:nvGrpSpPr>
          <p:cNvPr id="23" name="Gruppieren 22">
            <a:extLst>
              <a:ext uri="{FF2B5EF4-FFF2-40B4-BE49-F238E27FC236}">
                <a16:creationId xmlns:a16="http://schemas.microsoft.com/office/drawing/2014/main" id="{2B8D8867-6BF1-4A2C-8603-32A910E4A358}"/>
              </a:ext>
            </a:extLst>
          </p:cNvPr>
          <p:cNvGrpSpPr/>
          <p:nvPr userDrawn="1">
            <p:custDataLst>
              <p:tags r:id="rId2"/>
            </p:custDataLst>
          </p:nvPr>
        </p:nvGrpSpPr>
        <p:grpSpPr bwMode="gray">
          <a:xfrm>
            <a:off x="1" y="0"/>
            <a:ext cx="12192000" cy="6858001"/>
            <a:chOff x="1" y="0"/>
            <a:chExt cx="12192000" cy="6858001"/>
          </a:xfrm>
        </p:grpSpPr>
        <p:sp>
          <p:nvSpPr>
            <p:cNvPr id="24" name="Rectangle 4">
              <a:extLst>
                <a:ext uri="{FF2B5EF4-FFF2-40B4-BE49-F238E27FC236}">
                  <a16:creationId xmlns:a16="http://schemas.microsoft.com/office/drawing/2014/main" id="{20122DDC-25B1-4633-9E58-12D653110EE6}"/>
                </a:ext>
              </a:extLst>
            </p:cNvPr>
            <p:cNvSpPr/>
            <p:nvPr/>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dirty="0">
                <a:solidFill>
                  <a:srgbClr val="FFFFFF"/>
                </a:solidFill>
                <a:latin typeface="Verdana"/>
              </a:endParaRPr>
            </a:p>
          </p:txBody>
        </p:sp>
        <p:grpSp>
          <p:nvGrpSpPr>
            <p:cNvPr id="25" name="Gruppieren 24">
              <a:extLst>
                <a:ext uri="{FF2B5EF4-FFF2-40B4-BE49-F238E27FC236}">
                  <a16:creationId xmlns:a16="http://schemas.microsoft.com/office/drawing/2014/main" id="{2F672B04-DF69-4CDA-B161-C0376947F4AA}"/>
                </a:ext>
              </a:extLst>
            </p:cNvPr>
            <p:cNvGrpSpPr/>
            <p:nvPr>
              <p:custDataLst>
                <p:tags r:id="rId3"/>
              </p:custDataLst>
            </p:nvPr>
          </p:nvGrpSpPr>
          <p:grpSpPr bwMode="gray">
            <a:xfrm>
              <a:off x="4048974" y="2415831"/>
              <a:ext cx="4088423" cy="2054569"/>
              <a:chOff x="2649538" y="1697038"/>
              <a:chExt cx="6892925" cy="3463925"/>
            </a:xfrm>
          </p:grpSpPr>
          <p:sp>
            <p:nvSpPr>
              <p:cNvPr id="30" name="Freeform 17">
                <a:extLst>
                  <a:ext uri="{FF2B5EF4-FFF2-40B4-BE49-F238E27FC236}">
                    <a16:creationId xmlns:a16="http://schemas.microsoft.com/office/drawing/2014/main" id="{E1B4C96F-272A-46B3-B275-1E71D087B265}"/>
                  </a:ext>
                </a:extLst>
              </p:cNvPr>
              <p:cNvSpPr>
                <a:spLocks noEditPoints="1"/>
              </p:cNvSpPr>
              <p:nvPr>
                <p:custDataLst>
                  <p:tags r:id="rId4"/>
                </p:custDataLst>
              </p:nvPr>
            </p:nvSpPr>
            <p:spPr bwMode="gray">
              <a:xfrm>
                <a:off x="2649538" y="1697038"/>
                <a:ext cx="6892925" cy="3463925"/>
              </a:xfrm>
              <a:custGeom>
                <a:avLst/>
                <a:gdLst>
                  <a:gd name="T0" fmla="*/ 31 w 1835"/>
                  <a:gd name="T1" fmla="*/ 747 h 921"/>
                  <a:gd name="T2" fmla="*/ 384 w 1835"/>
                  <a:gd name="T3" fmla="*/ 102 h 921"/>
                  <a:gd name="T4" fmla="*/ 51 w 1835"/>
                  <a:gd name="T5" fmla="*/ 48 h 921"/>
                  <a:gd name="T6" fmla="*/ 196 w 1835"/>
                  <a:gd name="T7" fmla="*/ 874 h 921"/>
                  <a:gd name="T8" fmla="*/ 1645 w 1835"/>
                  <a:gd name="T9" fmla="*/ 852 h 921"/>
                  <a:gd name="T10" fmla="*/ 1534 w 1835"/>
                  <a:gd name="T11" fmla="*/ 532 h 921"/>
                  <a:gd name="T12" fmla="*/ 865 w 1835"/>
                  <a:gd name="T13" fmla="*/ 836 h 921"/>
                  <a:gd name="T14" fmla="*/ 306 w 1835"/>
                  <a:gd name="T15" fmla="*/ 563 h 921"/>
                  <a:gd name="T16" fmla="*/ 291 w 1835"/>
                  <a:gd name="T17" fmla="*/ 879 h 921"/>
                  <a:gd name="T18" fmla="*/ 13 w 1835"/>
                  <a:gd name="T19" fmla="*/ 762 h 921"/>
                  <a:gd name="T20" fmla="*/ 249 w 1835"/>
                  <a:gd name="T21" fmla="*/ 17 h 921"/>
                  <a:gd name="T22" fmla="*/ 624 w 1835"/>
                  <a:gd name="T23" fmla="*/ 309 h 921"/>
                  <a:gd name="T24" fmla="*/ 554 w 1835"/>
                  <a:gd name="T25" fmla="*/ 296 h 921"/>
                  <a:gd name="T26" fmla="*/ 219 w 1835"/>
                  <a:gd name="T27" fmla="*/ 56 h 921"/>
                  <a:gd name="T28" fmla="*/ 62 w 1835"/>
                  <a:gd name="T29" fmla="*/ 761 h 921"/>
                  <a:gd name="T30" fmla="*/ 243 w 1835"/>
                  <a:gd name="T31" fmla="*/ 846 h 921"/>
                  <a:gd name="T32" fmla="*/ 662 w 1835"/>
                  <a:gd name="T33" fmla="*/ 619 h 921"/>
                  <a:gd name="T34" fmla="*/ 1277 w 1835"/>
                  <a:gd name="T35" fmla="*/ 546 h 921"/>
                  <a:gd name="T36" fmla="*/ 1650 w 1835"/>
                  <a:gd name="T37" fmla="*/ 852 h 921"/>
                  <a:gd name="T38" fmla="*/ 651 w 1835"/>
                  <a:gd name="T39" fmla="*/ 620 h 921"/>
                  <a:gd name="T40" fmla="*/ 233 w 1835"/>
                  <a:gd name="T41" fmla="*/ 860 h 921"/>
                  <a:gd name="T42" fmla="*/ 58 w 1835"/>
                  <a:gd name="T43" fmla="*/ 717 h 921"/>
                  <a:gd name="T44" fmla="*/ 368 w 1835"/>
                  <a:gd name="T45" fmla="*/ 117 h 921"/>
                  <a:gd name="T46" fmla="*/ 975 w 1835"/>
                  <a:gd name="T47" fmla="*/ 420 h 921"/>
                  <a:gd name="T48" fmla="*/ 250 w 1835"/>
                  <a:gd name="T49" fmla="*/ 21 h 921"/>
                  <a:gd name="T50" fmla="*/ 39 w 1835"/>
                  <a:gd name="T51" fmla="*/ 823 h 921"/>
                  <a:gd name="T52" fmla="*/ 288 w 1835"/>
                  <a:gd name="T53" fmla="*/ 865 h 921"/>
                  <a:gd name="T54" fmla="*/ 590 w 1835"/>
                  <a:gd name="T55" fmla="*/ 612 h 921"/>
                  <a:gd name="T56" fmla="*/ 1301 w 1835"/>
                  <a:gd name="T57" fmla="*/ 542 h 921"/>
                  <a:gd name="T58" fmla="*/ 1645 w 1835"/>
                  <a:gd name="T59" fmla="*/ 892 h 921"/>
                  <a:gd name="T60" fmla="*/ 1531 w 1835"/>
                  <a:gd name="T61" fmla="*/ 564 h 921"/>
                  <a:gd name="T62" fmla="*/ 829 w 1835"/>
                  <a:gd name="T63" fmla="*/ 839 h 921"/>
                  <a:gd name="T64" fmla="*/ 308 w 1835"/>
                  <a:gd name="T65" fmla="*/ 612 h 921"/>
                  <a:gd name="T66" fmla="*/ 215 w 1835"/>
                  <a:gd name="T67" fmla="*/ 921 h 921"/>
                  <a:gd name="T68" fmla="*/ 1 w 1835"/>
                  <a:gd name="T69" fmla="*/ 570 h 921"/>
                  <a:gd name="T70" fmla="*/ 522 w 1835"/>
                  <a:gd name="T71" fmla="*/ 194 h 921"/>
                  <a:gd name="T72" fmla="*/ 1784 w 1835"/>
                  <a:gd name="T73" fmla="*/ 48 h 921"/>
                  <a:gd name="T74" fmla="*/ 853 w 1835"/>
                  <a:gd name="T75" fmla="*/ 455 h 921"/>
                  <a:gd name="T76" fmla="*/ 368 w 1835"/>
                  <a:gd name="T77" fmla="*/ 148 h 921"/>
                  <a:gd name="T78" fmla="*/ 177 w 1835"/>
                  <a:gd name="T79" fmla="*/ 844 h 921"/>
                  <a:gd name="T80" fmla="*/ 231 w 1835"/>
                  <a:gd name="T81" fmla="*/ 838 h 921"/>
                  <a:gd name="T82" fmla="*/ 502 w 1835"/>
                  <a:gd name="T83" fmla="*/ 484 h 921"/>
                  <a:gd name="T84" fmla="*/ 1194 w 1835"/>
                  <a:gd name="T85" fmla="*/ 606 h 921"/>
                  <a:gd name="T86" fmla="*/ 1605 w 1835"/>
                  <a:gd name="T87" fmla="*/ 747 h 921"/>
                  <a:gd name="T88" fmla="*/ 1777 w 1835"/>
                  <a:gd name="T89" fmla="*/ 856 h 921"/>
                  <a:gd name="T90" fmla="*/ 1811 w 1835"/>
                  <a:gd name="T91" fmla="*/ 454 h 921"/>
                  <a:gd name="T92" fmla="*/ 1775 w 1835"/>
                  <a:gd name="T93" fmla="*/ 866 h 921"/>
                  <a:gd name="T94" fmla="*/ 1601 w 1835"/>
                  <a:gd name="T95" fmla="*/ 614 h 921"/>
                  <a:gd name="T96" fmla="*/ 1011 w 1835"/>
                  <a:gd name="T97" fmla="*/ 764 h 921"/>
                  <a:gd name="T98" fmla="*/ 240 w 1835"/>
                  <a:gd name="T99" fmla="*/ 575 h 921"/>
                  <a:gd name="T100" fmla="*/ 204 w 1835"/>
                  <a:gd name="T101" fmla="*/ 849 h 921"/>
                  <a:gd name="T102" fmla="*/ 77 w 1835"/>
                  <a:gd name="T103" fmla="*/ 69 h 921"/>
                  <a:gd name="T104" fmla="*/ 544 w 1835"/>
                  <a:gd name="T105" fmla="*/ 305 h 921"/>
                  <a:gd name="T106" fmla="*/ 1489 w 1835"/>
                  <a:gd name="T107" fmla="*/ 102 h 921"/>
                  <a:gd name="T108" fmla="*/ 1536 w 1835"/>
                  <a:gd name="T109" fmla="*/ 32 h 921"/>
                  <a:gd name="T110" fmla="*/ 586 w 1835"/>
                  <a:gd name="T111" fmla="*/ 264 h 921"/>
                  <a:gd name="T112" fmla="*/ 221 w 1835"/>
                  <a:gd name="T113" fmla="*/ 6 h 921"/>
                  <a:gd name="T114" fmla="*/ 4 w 1835"/>
                  <a:gd name="T115" fmla="*/ 759 h 921"/>
                  <a:gd name="T116" fmla="*/ 243 w 1835"/>
                  <a:gd name="T117" fmla="*/ 916 h 921"/>
                  <a:gd name="T118" fmla="*/ 386 w 1835"/>
                  <a:gd name="T119" fmla="*/ 526 h 921"/>
                  <a:gd name="T120" fmla="*/ 1076 w 1835"/>
                  <a:gd name="T121" fmla="*/ 795 h 921"/>
                  <a:gd name="T122" fmla="*/ 1551 w 1835"/>
                  <a:gd name="T123" fmla="*/ 607 h 921"/>
                  <a:gd name="T124" fmla="*/ 1776 w 1835"/>
                  <a:gd name="T125" fmla="*/ 899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35" h="921">
                    <a:moveTo>
                      <a:pt x="272" y="835"/>
                    </a:moveTo>
                    <a:cubicBezTo>
                      <a:pt x="272" y="842"/>
                      <a:pt x="272" y="850"/>
                      <a:pt x="272" y="859"/>
                    </a:cubicBezTo>
                    <a:cubicBezTo>
                      <a:pt x="272" y="863"/>
                      <a:pt x="272" y="868"/>
                      <a:pt x="270" y="872"/>
                    </a:cubicBezTo>
                    <a:cubicBezTo>
                      <a:pt x="269" y="876"/>
                      <a:pt x="265" y="880"/>
                      <a:pt x="261" y="881"/>
                    </a:cubicBezTo>
                    <a:cubicBezTo>
                      <a:pt x="253" y="885"/>
                      <a:pt x="243" y="885"/>
                      <a:pt x="233" y="886"/>
                    </a:cubicBezTo>
                    <a:cubicBezTo>
                      <a:pt x="224" y="887"/>
                      <a:pt x="215" y="887"/>
                      <a:pt x="205" y="887"/>
                    </a:cubicBezTo>
                    <a:cubicBezTo>
                      <a:pt x="200" y="888"/>
                      <a:pt x="196" y="888"/>
                      <a:pt x="191" y="888"/>
                    </a:cubicBezTo>
                    <a:cubicBezTo>
                      <a:pt x="186" y="888"/>
                      <a:pt x="181" y="888"/>
                      <a:pt x="176" y="887"/>
                    </a:cubicBezTo>
                    <a:cubicBezTo>
                      <a:pt x="156" y="886"/>
                      <a:pt x="135" y="881"/>
                      <a:pt x="115" y="871"/>
                    </a:cubicBezTo>
                    <a:cubicBezTo>
                      <a:pt x="96" y="862"/>
                      <a:pt x="77" y="849"/>
                      <a:pt x="61" y="831"/>
                    </a:cubicBezTo>
                    <a:cubicBezTo>
                      <a:pt x="53" y="822"/>
                      <a:pt x="46" y="812"/>
                      <a:pt x="41" y="801"/>
                    </a:cubicBezTo>
                    <a:cubicBezTo>
                      <a:pt x="36" y="790"/>
                      <a:pt x="32" y="778"/>
                      <a:pt x="31" y="765"/>
                    </a:cubicBezTo>
                    <a:cubicBezTo>
                      <a:pt x="31" y="762"/>
                      <a:pt x="31" y="759"/>
                      <a:pt x="31" y="756"/>
                    </a:cubicBezTo>
                    <a:cubicBezTo>
                      <a:pt x="31" y="753"/>
                      <a:pt x="31" y="750"/>
                      <a:pt x="31" y="747"/>
                    </a:cubicBezTo>
                    <a:cubicBezTo>
                      <a:pt x="31" y="741"/>
                      <a:pt x="31" y="735"/>
                      <a:pt x="30" y="729"/>
                    </a:cubicBezTo>
                    <a:cubicBezTo>
                      <a:pt x="30" y="717"/>
                      <a:pt x="30" y="705"/>
                      <a:pt x="30" y="693"/>
                    </a:cubicBezTo>
                    <a:cubicBezTo>
                      <a:pt x="30" y="594"/>
                      <a:pt x="29" y="489"/>
                      <a:pt x="29" y="381"/>
                    </a:cubicBezTo>
                    <a:cubicBezTo>
                      <a:pt x="29" y="328"/>
                      <a:pt x="29" y="274"/>
                      <a:pt x="29" y="220"/>
                    </a:cubicBezTo>
                    <a:cubicBezTo>
                      <a:pt x="30" y="165"/>
                      <a:pt x="30" y="70"/>
                      <a:pt x="30" y="57"/>
                    </a:cubicBezTo>
                    <a:cubicBezTo>
                      <a:pt x="30" y="43"/>
                      <a:pt x="37" y="27"/>
                      <a:pt x="60" y="27"/>
                    </a:cubicBezTo>
                    <a:cubicBezTo>
                      <a:pt x="82" y="27"/>
                      <a:pt x="129" y="28"/>
                      <a:pt x="163" y="28"/>
                    </a:cubicBezTo>
                    <a:cubicBezTo>
                      <a:pt x="175" y="28"/>
                      <a:pt x="188" y="28"/>
                      <a:pt x="200" y="28"/>
                    </a:cubicBezTo>
                    <a:cubicBezTo>
                      <a:pt x="206" y="28"/>
                      <a:pt x="212" y="28"/>
                      <a:pt x="218" y="28"/>
                    </a:cubicBezTo>
                    <a:cubicBezTo>
                      <a:pt x="225" y="28"/>
                      <a:pt x="231" y="28"/>
                      <a:pt x="237" y="29"/>
                    </a:cubicBezTo>
                    <a:cubicBezTo>
                      <a:pt x="262" y="31"/>
                      <a:pt x="285" y="38"/>
                      <a:pt x="306" y="47"/>
                    </a:cubicBezTo>
                    <a:cubicBezTo>
                      <a:pt x="327" y="56"/>
                      <a:pt x="346" y="68"/>
                      <a:pt x="362" y="81"/>
                    </a:cubicBezTo>
                    <a:cubicBezTo>
                      <a:pt x="366" y="85"/>
                      <a:pt x="370" y="88"/>
                      <a:pt x="373" y="92"/>
                    </a:cubicBezTo>
                    <a:cubicBezTo>
                      <a:pt x="377" y="95"/>
                      <a:pt x="381" y="99"/>
                      <a:pt x="384" y="102"/>
                    </a:cubicBezTo>
                    <a:cubicBezTo>
                      <a:pt x="391" y="109"/>
                      <a:pt x="398" y="115"/>
                      <a:pt x="405" y="122"/>
                    </a:cubicBezTo>
                    <a:cubicBezTo>
                      <a:pt x="458" y="173"/>
                      <a:pt x="499" y="213"/>
                      <a:pt x="523" y="238"/>
                    </a:cubicBezTo>
                    <a:cubicBezTo>
                      <a:pt x="531" y="245"/>
                      <a:pt x="536" y="251"/>
                      <a:pt x="539" y="255"/>
                    </a:cubicBezTo>
                    <a:cubicBezTo>
                      <a:pt x="546" y="263"/>
                      <a:pt x="545" y="263"/>
                      <a:pt x="536" y="256"/>
                    </a:cubicBezTo>
                    <a:cubicBezTo>
                      <a:pt x="531" y="252"/>
                      <a:pt x="525" y="247"/>
                      <a:pt x="516" y="240"/>
                    </a:cubicBezTo>
                    <a:cubicBezTo>
                      <a:pt x="507" y="233"/>
                      <a:pt x="458" y="189"/>
                      <a:pt x="393" y="129"/>
                    </a:cubicBezTo>
                    <a:cubicBezTo>
                      <a:pt x="383" y="119"/>
                      <a:pt x="372" y="109"/>
                      <a:pt x="361" y="99"/>
                    </a:cubicBezTo>
                    <a:cubicBezTo>
                      <a:pt x="350" y="89"/>
                      <a:pt x="339" y="81"/>
                      <a:pt x="326" y="73"/>
                    </a:cubicBezTo>
                    <a:cubicBezTo>
                      <a:pt x="302" y="59"/>
                      <a:pt x="274" y="49"/>
                      <a:pt x="245" y="45"/>
                    </a:cubicBezTo>
                    <a:cubicBezTo>
                      <a:pt x="238" y="44"/>
                      <a:pt x="230" y="44"/>
                      <a:pt x="223" y="43"/>
                    </a:cubicBezTo>
                    <a:cubicBezTo>
                      <a:pt x="216" y="43"/>
                      <a:pt x="208" y="43"/>
                      <a:pt x="200" y="43"/>
                    </a:cubicBezTo>
                    <a:cubicBezTo>
                      <a:pt x="185" y="43"/>
                      <a:pt x="170" y="43"/>
                      <a:pt x="155" y="43"/>
                    </a:cubicBezTo>
                    <a:cubicBezTo>
                      <a:pt x="125" y="44"/>
                      <a:pt x="72" y="44"/>
                      <a:pt x="67" y="44"/>
                    </a:cubicBezTo>
                    <a:cubicBezTo>
                      <a:pt x="59" y="44"/>
                      <a:pt x="54" y="45"/>
                      <a:pt x="51" y="48"/>
                    </a:cubicBezTo>
                    <a:cubicBezTo>
                      <a:pt x="46" y="53"/>
                      <a:pt x="47" y="57"/>
                      <a:pt x="47" y="64"/>
                    </a:cubicBezTo>
                    <a:cubicBezTo>
                      <a:pt x="47" y="83"/>
                      <a:pt x="47" y="185"/>
                      <a:pt x="47" y="245"/>
                    </a:cubicBezTo>
                    <a:cubicBezTo>
                      <a:pt x="48" y="306"/>
                      <a:pt x="48" y="366"/>
                      <a:pt x="48" y="426"/>
                    </a:cubicBezTo>
                    <a:cubicBezTo>
                      <a:pt x="49" y="499"/>
                      <a:pt x="49" y="579"/>
                      <a:pt x="49" y="657"/>
                    </a:cubicBezTo>
                    <a:cubicBezTo>
                      <a:pt x="49" y="676"/>
                      <a:pt x="49" y="695"/>
                      <a:pt x="48" y="714"/>
                    </a:cubicBezTo>
                    <a:cubicBezTo>
                      <a:pt x="48" y="724"/>
                      <a:pt x="48" y="733"/>
                      <a:pt x="48" y="743"/>
                    </a:cubicBezTo>
                    <a:cubicBezTo>
                      <a:pt x="48" y="747"/>
                      <a:pt x="48" y="752"/>
                      <a:pt x="48" y="757"/>
                    </a:cubicBezTo>
                    <a:cubicBezTo>
                      <a:pt x="48" y="761"/>
                      <a:pt x="48" y="765"/>
                      <a:pt x="49" y="769"/>
                    </a:cubicBezTo>
                    <a:cubicBezTo>
                      <a:pt x="51" y="785"/>
                      <a:pt x="58" y="800"/>
                      <a:pt x="67" y="813"/>
                    </a:cubicBezTo>
                    <a:cubicBezTo>
                      <a:pt x="77" y="826"/>
                      <a:pt x="88" y="836"/>
                      <a:pt x="101" y="845"/>
                    </a:cubicBezTo>
                    <a:cubicBezTo>
                      <a:pt x="114" y="855"/>
                      <a:pt x="130" y="862"/>
                      <a:pt x="146" y="868"/>
                    </a:cubicBezTo>
                    <a:cubicBezTo>
                      <a:pt x="154" y="870"/>
                      <a:pt x="162" y="872"/>
                      <a:pt x="170" y="873"/>
                    </a:cubicBezTo>
                    <a:cubicBezTo>
                      <a:pt x="175" y="874"/>
                      <a:pt x="179" y="874"/>
                      <a:pt x="183" y="874"/>
                    </a:cubicBezTo>
                    <a:cubicBezTo>
                      <a:pt x="187" y="874"/>
                      <a:pt x="192" y="874"/>
                      <a:pt x="196" y="874"/>
                    </a:cubicBezTo>
                    <a:cubicBezTo>
                      <a:pt x="213" y="874"/>
                      <a:pt x="233" y="874"/>
                      <a:pt x="245" y="873"/>
                    </a:cubicBezTo>
                    <a:cubicBezTo>
                      <a:pt x="247" y="872"/>
                      <a:pt x="249" y="872"/>
                      <a:pt x="251" y="872"/>
                    </a:cubicBezTo>
                    <a:cubicBezTo>
                      <a:pt x="252" y="871"/>
                      <a:pt x="254" y="871"/>
                      <a:pt x="256" y="870"/>
                    </a:cubicBezTo>
                    <a:cubicBezTo>
                      <a:pt x="259" y="868"/>
                      <a:pt x="260" y="864"/>
                      <a:pt x="261" y="861"/>
                    </a:cubicBezTo>
                    <a:cubicBezTo>
                      <a:pt x="261" y="857"/>
                      <a:pt x="261" y="854"/>
                      <a:pt x="261" y="850"/>
                    </a:cubicBezTo>
                    <a:cubicBezTo>
                      <a:pt x="261" y="839"/>
                      <a:pt x="261" y="839"/>
                      <a:pt x="261" y="839"/>
                    </a:cubicBezTo>
                    <a:cubicBezTo>
                      <a:pt x="261" y="808"/>
                      <a:pt x="262" y="781"/>
                      <a:pt x="262" y="757"/>
                    </a:cubicBezTo>
                    <a:cubicBezTo>
                      <a:pt x="263" y="743"/>
                      <a:pt x="263" y="729"/>
                      <a:pt x="264" y="717"/>
                    </a:cubicBezTo>
                    <a:cubicBezTo>
                      <a:pt x="265" y="704"/>
                      <a:pt x="267" y="713"/>
                      <a:pt x="269" y="740"/>
                    </a:cubicBezTo>
                    <a:cubicBezTo>
                      <a:pt x="269" y="749"/>
                      <a:pt x="270" y="761"/>
                      <a:pt x="270" y="774"/>
                    </a:cubicBezTo>
                    <a:cubicBezTo>
                      <a:pt x="271" y="786"/>
                      <a:pt x="271" y="799"/>
                      <a:pt x="271" y="813"/>
                    </a:cubicBezTo>
                    <a:cubicBezTo>
                      <a:pt x="271" y="820"/>
                      <a:pt x="272" y="827"/>
                      <a:pt x="272" y="835"/>
                    </a:cubicBezTo>
                    <a:close/>
                    <a:moveTo>
                      <a:pt x="1650" y="852"/>
                    </a:moveTo>
                    <a:cubicBezTo>
                      <a:pt x="1651" y="853"/>
                      <a:pt x="1649" y="854"/>
                      <a:pt x="1645" y="852"/>
                    </a:cubicBezTo>
                    <a:cubicBezTo>
                      <a:pt x="1641" y="851"/>
                      <a:pt x="1635" y="848"/>
                      <a:pt x="1627" y="843"/>
                    </a:cubicBezTo>
                    <a:cubicBezTo>
                      <a:pt x="1619" y="838"/>
                      <a:pt x="1610" y="831"/>
                      <a:pt x="1600" y="820"/>
                    </a:cubicBezTo>
                    <a:cubicBezTo>
                      <a:pt x="1593" y="812"/>
                      <a:pt x="1587" y="803"/>
                      <a:pt x="1581" y="792"/>
                    </a:cubicBezTo>
                    <a:cubicBezTo>
                      <a:pt x="1579" y="786"/>
                      <a:pt x="1577" y="780"/>
                      <a:pt x="1575" y="774"/>
                    </a:cubicBezTo>
                    <a:cubicBezTo>
                      <a:pt x="1574" y="770"/>
                      <a:pt x="1574" y="767"/>
                      <a:pt x="1574" y="763"/>
                    </a:cubicBezTo>
                    <a:cubicBezTo>
                      <a:pt x="1573" y="761"/>
                      <a:pt x="1573" y="759"/>
                      <a:pt x="1573" y="758"/>
                    </a:cubicBezTo>
                    <a:cubicBezTo>
                      <a:pt x="1573" y="756"/>
                      <a:pt x="1573" y="754"/>
                      <a:pt x="1573" y="752"/>
                    </a:cubicBezTo>
                    <a:cubicBezTo>
                      <a:pt x="1572" y="729"/>
                      <a:pt x="1571" y="702"/>
                      <a:pt x="1570" y="672"/>
                    </a:cubicBezTo>
                    <a:cubicBezTo>
                      <a:pt x="1570" y="657"/>
                      <a:pt x="1570" y="641"/>
                      <a:pt x="1569" y="624"/>
                    </a:cubicBezTo>
                    <a:cubicBezTo>
                      <a:pt x="1569" y="620"/>
                      <a:pt x="1569" y="616"/>
                      <a:pt x="1569" y="611"/>
                    </a:cubicBezTo>
                    <a:cubicBezTo>
                      <a:pt x="1569" y="609"/>
                      <a:pt x="1569" y="607"/>
                      <a:pt x="1569" y="605"/>
                    </a:cubicBezTo>
                    <a:cubicBezTo>
                      <a:pt x="1568" y="603"/>
                      <a:pt x="1568" y="601"/>
                      <a:pt x="1568" y="599"/>
                    </a:cubicBezTo>
                    <a:cubicBezTo>
                      <a:pt x="1567" y="591"/>
                      <a:pt x="1565" y="583"/>
                      <a:pt x="1562" y="575"/>
                    </a:cubicBezTo>
                    <a:cubicBezTo>
                      <a:pt x="1557" y="559"/>
                      <a:pt x="1547" y="544"/>
                      <a:pt x="1534" y="532"/>
                    </a:cubicBezTo>
                    <a:cubicBezTo>
                      <a:pt x="1521" y="519"/>
                      <a:pt x="1504" y="510"/>
                      <a:pt x="1485" y="506"/>
                    </a:cubicBezTo>
                    <a:cubicBezTo>
                      <a:pt x="1480" y="505"/>
                      <a:pt x="1476" y="504"/>
                      <a:pt x="1471" y="504"/>
                    </a:cubicBezTo>
                    <a:cubicBezTo>
                      <a:pt x="1466" y="503"/>
                      <a:pt x="1461" y="503"/>
                      <a:pt x="1456" y="503"/>
                    </a:cubicBezTo>
                    <a:cubicBezTo>
                      <a:pt x="1446" y="504"/>
                      <a:pt x="1435" y="505"/>
                      <a:pt x="1425" y="507"/>
                    </a:cubicBezTo>
                    <a:cubicBezTo>
                      <a:pt x="1404" y="512"/>
                      <a:pt x="1383" y="519"/>
                      <a:pt x="1363" y="530"/>
                    </a:cubicBezTo>
                    <a:cubicBezTo>
                      <a:pt x="1343" y="541"/>
                      <a:pt x="1323" y="555"/>
                      <a:pt x="1304" y="570"/>
                    </a:cubicBezTo>
                    <a:cubicBezTo>
                      <a:pt x="1284" y="585"/>
                      <a:pt x="1266" y="603"/>
                      <a:pt x="1247" y="621"/>
                    </a:cubicBezTo>
                    <a:cubicBezTo>
                      <a:pt x="1228" y="639"/>
                      <a:pt x="1208" y="658"/>
                      <a:pt x="1187" y="677"/>
                    </a:cubicBezTo>
                    <a:cubicBezTo>
                      <a:pt x="1167" y="696"/>
                      <a:pt x="1146" y="715"/>
                      <a:pt x="1125" y="735"/>
                    </a:cubicBezTo>
                    <a:cubicBezTo>
                      <a:pt x="1103" y="754"/>
                      <a:pt x="1081" y="774"/>
                      <a:pt x="1056" y="793"/>
                    </a:cubicBezTo>
                    <a:cubicBezTo>
                      <a:pt x="1044" y="802"/>
                      <a:pt x="1030" y="811"/>
                      <a:pt x="1016" y="819"/>
                    </a:cubicBezTo>
                    <a:cubicBezTo>
                      <a:pt x="1002" y="827"/>
                      <a:pt x="986" y="833"/>
                      <a:pt x="970" y="838"/>
                    </a:cubicBezTo>
                    <a:cubicBezTo>
                      <a:pt x="953" y="843"/>
                      <a:pt x="935" y="845"/>
                      <a:pt x="918" y="845"/>
                    </a:cubicBezTo>
                    <a:cubicBezTo>
                      <a:pt x="900" y="844"/>
                      <a:pt x="882" y="841"/>
                      <a:pt x="865" y="836"/>
                    </a:cubicBezTo>
                    <a:cubicBezTo>
                      <a:pt x="848" y="830"/>
                      <a:pt x="833" y="822"/>
                      <a:pt x="818" y="814"/>
                    </a:cubicBezTo>
                    <a:cubicBezTo>
                      <a:pt x="803" y="805"/>
                      <a:pt x="789" y="795"/>
                      <a:pt x="775" y="785"/>
                    </a:cubicBezTo>
                    <a:cubicBezTo>
                      <a:pt x="749" y="765"/>
                      <a:pt x="724" y="742"/>
                      <a:pt x="699" y="720"/>
                    </a:cubicBezTo>
                    <a:cubicBezTo>
                      <a:pt x="686" y="709"/>
                      <a:pt x="674" y="698"/>
                      <a:pt x="661" y="687"/>
                    </a:cubicBezTo>
                    <a:cubicBezTo>
                      <a:pt x="655" y="681"/>
                      <a:pt x="649" y="675"/>
                      <a:pt x="642" y="670"/>
                    </a:cubicBezTo>
                    <a:cubicBezTo>
                      <a:pt x="636" y="664"/>
                      <a:pt x="629" y="658"/>
                      <a:pt x="623" y="652"/>
                    </a:cubicBezTo>
                    <a:cubicBezTo>
                      <a:pt x="598" y="629"/>
                      <a:pt x="573" y="606"/>
                      <a:pt x="547" y="585"/>
                    </a:cubicBezTo>
                    <a:cubicBezTo>
                      <a:pt x="521" y="564"/>
                      <a:pt x="494" y="545"/>
                      <a:pt x="464" y="532"/>
                    </a:cubicBezTo>
                    <a:cubicBezTo>
                      <a:pt x="450" y="526"/>
                      <a:pt x="435" y="521"/>
                      <a:pt x="419" y="519"/>
                    </a:cubicBezTo>
                    <a:cubicBezTo>
                      <a:pt x="411" y="517"/>
                      <a:pt x="404" y="516"/>
                      <a:pt x="396" y="516"/>
                    </a:cubicBezTo>
                    <a:cubicBezTo>
                      <a:pt x="392" y="516"/>
                      <a:pt x="388" y="515"/>
                      <a:pt x="384" y="516"/>
                    </a:cubicBezTo>
                    <a:cubicBezTo>
                      <a:pt x="381" y="516"/>
                      <a:pt x="377" y="516"/>
                      <a:pt x="374" y="516"/>
                    </a:cubicBezTo>
                    <a:cubicBezTo>
                      <a:pt x="360" y="518"/>
                      <a:pt x="346" y="524"/>
                      <a:pt x="335" y="532"/>
                    </a:cubicBezTo>
                    <a:cubicBezTo>
                      <a:pt x="323" y="540"/>
                      <a:pt x="313" y="551"/>
                      <a:pt x="306" y="563"/>
                    </a:cubicBezTo>
                    <a:cubicBezTo>
                      <a:pt x="299" y="576"/>
                      <a:pt x="295" y="590"/>
                      <a:pt x="294" y="604"/>
                    </a:cubicBezTo>
                    <a:cubicBezTo>
                      <a:pt x="294" y="606"/>
                      <a:pt x="294" y="607"/>
                      <a:pt x="294" y="609"/>
                    </a:cubicBezTo>
                    <a:cubicBezTo>
                      <a:pt x="294" y="616"/>
                      <a:pt x="294" y="616"/>
                      <a:pt x="294" y="616"/>
                    </a:cubicBezTo>
                    <a:cubicBezTo>
                      <a:pt x="294" y="630"/>
                      <a:pt x="294" y="630"/>
                      <a:pt x="294" y="630"/>
                    </a:cubicBezTo>
                    <a:cubicBezTo>
                      <a:pt x="294" y="639"/>
                      <a:pt x="294" y="648"/>
                      <a:pt x="294" y="657"/>
                    </a:cubicBezTo>
                    <a:cubicBezTo>
                      <a:pt x="294" y="694"/>
                      <a:pt x="294" y="731"/>
                      <a:pt x="294" y="768"/>
                    </a:cubicBezTo>
                    <a:cubicBezTo>
                      <a:pt x="294" y="786"/>
                      <a:pt x="294" y="805"/>
                      <a:pt x="294" y="823"/>
                    </a:cubicBezTo>
                    <a:cubicBezTo>
                      <a:pt x="294" y="837"/>
                      <a:pt x="294" y="837"/>
                      <a:pt x="294" y="837"/>
                    </a:cubicBezTo>
                    <a:cubicBezTo>
                      <a:pt x="294" y="841"/>
                      <a:pt x="294" y="841"/>
                      <a:pt x="294" y="841"/>
                    </a:cubicBezTo>
                    <a:cubicBezTo>
                      <a:pt x="294" y="843"/>
                      <a:pt x="294" y="843"/>
                      <a:pt x="294" y="843"/>
                    </a:cubicBezTo>
                    <a:cubicBezTo>
                      <a:pt x="294" y="846"/>
                      <a:pt x="294" y="846"/>
                      <a:pt x="294" y="846"/>
                    </a:cubicBezTo>
                    <a:cubicBezTo>
                      <a:pt x="294" y="857"/>
                      <a:pt x="294" y="857"/>
                      <a:pt x="294" y="857"/>
                    </a:cubicBezTo>
                    <a:cubicBezTo>
                      <a:pt x="294" y="861"/>
                      <a:pt x="294" y="865"/>
                      <a:pt x="293" y="868"/>
                    </a:cubicBezTo>
                    <a:cubicBezTo>
                      <a:pt x="293" y="872"/>
                      <a:pt x="292" y="875"/>
                      <a:pt x="291" y="879"/>
                    </a:cubicBezTo>
                    <a:cubicBezTo>
                      <a:pt x="289" y="885"/>
                      <a:pt x="285" y="891"/>
                      <a:pt x="279" y="896"/>
                    </a:cubicBezTo>
                    <a:cubicBezTo>
                      <a:pt x="268" y="904"/>
                      <a:pt x="252" y="906"/>
                      <a:pt x="237" y="907"/>
                    </a:cubicBezTo>
                    <a:cubicBezTo>
                      <a:pt x="228" y="908"/>
                      <a:pt x="228" y="908"/>
                      <a:pt x="228" y="908"/>
                    </a:cubicBezTo>
                    <a:cubicBezTo>
                      <a:pt x="221" y="908"/>
                      <a:pt x="221" y="908"/>
                      <a:pt x="221" y="908"/>
                    </a:cubicBezTo>
                    <a:cubicBezTo>
                      <a:pt x="216" y="908"/>
                      <a:pt x="211" y="908"/>
                      <a:pt x="206" y="908"/>
                    </a:cubicBezTo>
                    <a:cubicBezTo>
                      <a:pt x="192" y="908"/>
                      <a:pt x="192" y="908"/>
                      <a:pt x="192" y="908"/>
                    </a:cubicBezTo>
                    <a:cubicBezTo>
                      <a:pt x="184" y="908"/>
                      <a:pt x="184" y="908"/>
                      <a:pt x="184" y="908"/>
                    </a:cubicBezTo>
                    <a:cubicBezTo>
                      <a:pt x="182" y="908"/>
                      <a:pt x="179" y="908"/>
                      <a:pt x="176" y="908"/>
                    </a:cubicBezTo>
                    <a:cubicBezTo>
                      <a:pt x="165" y="907"/>
                      <a:pt x="154" y="905"/>
                      <a:pt x="144" y="902"/>
                    </a:cubicBezTo>
                    <a:cubicBezTo>
                      <a:pt x="123" y="897"/>
                      <a:pt x="103" y="888"/>
                      <a:pt x="85" y="876"/>
                    </a:cubicBezTo>
                    <a:cubicBezTo>
                      <a:pt x="67" y="865"/>
                      <a:pt x="50" y="850"/>
                      <a:pt x="37" y="831"/>
                    </a:cubicBezTo>
                    <a:cubicBezTo>
                      <a:pt x="31" y="822"/>
                      <a:pt x="25" y="812"/>
                      <a:pt x="21" y="801"/>
                    </a:cubicBezTo>
                    <a:cubicBezTo>
                      <a:pt x="17" y="790"/>
                      <a:pt x="14" y="778"/>
                      <a:pt x="13" y="766"/>
                    </a:cubicBezTo>
                    <a:cubicBezTo>
                      <a:pt x="13" y="762"/>
                      <a:pt x="13" y="762"/>
                      <a:pt x="13" y="762"/>
                    </a:cubicBezTo>
                    <a:cubicBezTo>
                      <a:pt x="13" y="757"/>
                      <a:pt x="13" y="757"/>
                      <a:pt x="13" y="757"/>
                    </a:cubicBezTo>
                    <a:cubicBezTo>
                      <a:pt x="13" y="750"/>
                      <a:pt x="13" y="750"/>
                      <a:pt x="13" y="750"/>
                    </a:cubicBezTo>
                    <a:cubicBezTo>
                      <a:pt x="13" y="736"/>
                      <a:pt x="13" y="736"/>
                      <a:pt x="13" y="736"/>
                    </a:cubicBezTo>
                    <a:cubicBezTo>
                      <a:pt x="13" y="708"/>
                      <a:pt x="13" y="708"/>
                      <a:pt x="13" y="708"/>
                    </a:cubicBezTo>
                    <a:cubicBezTo>
                      <a:pt x="13" y="557"/>
                      <a:pt x="14" y="405"/>
                      <a:pt x="15" y="256"/>
                    </a:cubicBezTo>
                    <a:cubicBezTo>
                      <a:pt x="15" y="186"/>
                      <a:pt x="16" y="76"/>
                      <a:pt x="16" y="51"/>
                    </a:cubicBezTo>
                    <a:cubicBezTo>
                      <a:pt x="16" y="46"/>
                      <a:pt x="17" y="41"/>
                      <a:pt x="17" y="37"/>
                    </a:cubicBezTo>
                    <a:cubicBezTo>
                      <a:pt x="20" y="27"/>
                      <a:pt x="28" y="13"/>
                      <a:pt x="54" y="13"/>
                    </a:cubicBezTo>
                    <a:cubicBezTo>
                      <a:pt x="60" y="13"/>
                      <a:pt x="66" y="13"/>
                      <a:pt x="73" y="13"/>
                    </a:cubicBezTo>
                    <a:cubicBezTo>
                      <a:pt x="101" y="13"/>
                      <a:pt x="140" y="14"/>
                      <a:pt x="170" y="14"/>
                    </a:cubicBezTo>
                    <a:cubicBezTo>
                      <a:pt x="188" y="14"/>
                      <a:pt x="205" y="14"/>
                      <a:pt x="222" y="14"/>
                    </a:cubicBezTo>
                    <a:cubicBezTo>
                      <a:pt x="224" y="14"/>
                      <a:pt x="226" y="14"/>
                      <a:pt x="229" y="14"/>
                    </a:cubicBezTo>
                    <a:cubicBezTo>
                      <a:pt x="231" y="15"/>
                      <a:pt x="233" y="15"/>
                      <a:pt x="236" y="15"/>
                    </a:cubicBezTo>
                    <a:cubicBezTo>
                      <a:pt x="240" y="15"/>
                      <a:pt x="245" y="16"/>
                      <a:pt x="249" y="17"/>
                    </a:cubicBezTo>
                    <a:cubicBezTo>
                      <a:pt x="258" y="18"/>
                      <a:pt x="267" y="20"/>
                      <a:pt x="276" y="22"/>
                    </a:cubicBezTo>
                    <a:cubicBezTo>
                      <a:pt x="311" y="31"/>
                      <a:pt x="343" y="48"/>
                      <a:pt x="370" y="70"/>
                    </a:cubicBezTo>
                    <a:cubicBezTo>
                      <a:pt x="373" y="72"/>
                      <a:pt x="376" y="75"/>
                      <a:pt x="379" y="78"/>
                    </a:cubicBezTo>
                    <a:cubicBezTo>
                      <a:pt x="384" y="83"/>
                      <a:pt x="384" y="83"/>
                      <a:pt x="384" y="83"/>
                    </a:cubicBezTo>
                    <a:cubicBezTo>
                      <a:pt x="388" y="87"/>
                      <a:pt x="388" y="87"/>
                      <a:pt x="388" y="87"/>
                    </a:cubicBezTo>
                    <a:cubicBezTo>
                      <a:pt x="394" y="92"/>
                      <a:pt x="400" y="97"/>
                      <a:pt x="405" y="103"/>
                    </a:cubicBezTo>
                    <a:cubicBezTo>
                      <a:pt x="417" y="114"/>
                      <a:pt x="428" y="124"/>
                      <a:pt x="439" y="135"/>
                    </a:cubicBezTo>
                    <a:cubicBezTo>
                      <a:pt x="461" y="156"/>
                      <a:pt x="482" y="177"/>
                      <a:pt x="503" y="197"/>
                    </a:cubicBezTo>
                    <a:cubicBezTo>
                      <a:pt x="524" y="217"/>
                      <a:pt x="545" y="237"/>
                      <a:pt x="565" y="256"/>
                    </a:cubicBezTo>
                    <a:cubicBezTo>
                      <a:pt x="567" y="258"/>
                      <a:pt x="570" y="261"/>
                      <a:pt x="572" y="263"/>
                    </a:cubicBezTo>
                    <a:cubicBezTo>
                      <a:pt x="576" y="267"/>
                      <a:pt x="576" y="267"/>
                      <a:pt x="576" y="267"/>
                    </a:cubicBezTo>
                    <a:cubicBezTo>
                      <a:pt x="578" y="268"/>
                      <a:pt x="579" y="269"/>
                      <a:pt x="580" y="270"/>
                    </a:cubicBezTo>
                    <a:cubicBezTo>
                      <a:pt x="585" y="275"/>
                      <a:pt x="589" y="280"/>
                      <a:pt x="594" y="284"/>
                    </a:cubicBezTo>
                    <a:cubicBezTo>
                      <a:pt x="604" y="293"/>
                      <a:pt x="614" y="301"/>
                      <a:pt x="624" y="309"/>
                    </a:cubicBezTo>
                    <a:cubicBezTo>
                      <a:pt x="664" y="340"/>
                      <a:pt x="707" y="363"/>
                      <a:pt x="749" y="379"/>
                    </a:cubicBezTo>
                    <a:cubicBezTo>
                      <a:pt x="791" y="395"/>
                      <a:pt x="833" y="404"/>
                      <a:pt x="872" y="409"/>
                    </a:cubicBezTo>
                    <a:cubicBezTo>
                      <a:pt x="911" y="413"/>
                      <a:pt x="948" y="413"/>
                      <a:pt x="980" y="410"/>
                    </a:cubicBezTo>
                    <a:cubicBezTo>
                      <a:pt x="1046" y="405"/>
                      <a:pt x="1097" y="389"/>
                      <a:pt x="1133" y="375"/>
                    </a:cubicBezTo>
                    <a:cubicBezTo>
                      <a:pt x="1156" y="366"/>
                      <a:pt x="1173" y="358"/>
                      <a:pt x="1183" y="353"/>
                    </a:cubicBezTo>
                    <a:cubicBezTo>
                      <a:pt x="1194" y="348"/>
                      <a:pt x="1199" y="347"/>
                      <a:pt x="1199" y="348"/>
                    </a:cubicBezTo>
                    <a:cubicBezTo>
                      <a:pt x="1199" y="350"/>
                      <a:pt x="1193" y="355"/>
                      <a:pt x="1183" y="362"/>
                    </a:cubicBezTo>
                    <a:cubicBezTo>
                      <a:pt x="1172" y="370"/>
                      <a:pt x="1155" y="380"/>
                      <a:pt x="1131" y="392"/>
                    </a:cubicBezTo>
                    <a:cubicBezTo>
                      <a:pt x="1125" y="395"/>
                      <a:pt x="1112" y="402"/>
                      <a:pt x="1092" y="409"/>
                    </a:cubicBezTo>
                    <a:cubicBezTo>
                      <a:pt x="1071" y="417"/>
                      <a:pt x="1043" y="426"/>
                      <a:pt x="1008" y="432"/>
                    </a:cubicBezTo>
                    <a:cubicBezTo>
                      <a:pt x="973" y="438"/>
                      <a:pt x="931" y="442"/>
                      <a:pt x="883" y="439"/>
                    </a:cubicBezTo>
                    <a:cubicBezTo>
                      <a:pt x="836" y="436"/>
                      <a:pt x="783" y="427"/>
                      <a:pt x="729" y="407"/>
                    </a:cubicBezTo>
                    <a:cubicBezTo>
                      <a:pt x="669" y="385"/>
                      <a:pt x="612" y="350"/>
                      <a:pt x="563" y="305"/>
                    </a:cubicBezTo>
                    <a:cubicBezTo>
                      <a:pt x="560" y="302"/>
                      <a:pt x="557" y="299"/>
                      <a:pt x="554" y="296"/>
                    </a:cubicBezTo>
                    <a:cubicBezTo>
                      <a:pt x="552" y="294"/>
                      <a:pt x="552" y="294"/>
                      <a:pt x="552" y="294"/>
                    </a:cubicBezTo>
                    <a:cubicBezTo>
                      <a:pt x="550" y="292"/>
                      <a:pt x="550" y="292"/>
                      <a:pt x="550" y="292"/>
                    </a:cubicBezTo>
                    <a:cubicBezTo>
                      <a:pt x="545" y="288"/>
                      <a:pt x="545" y="288"/>
                      <a:pt x="545" y="288"/>
                    </a:cubicBezTo>
                    <a:cubicBezTo>
                      <a:pt x="539" y="283"/>
                      <a:pt x="534" y="277"/>
                      <a:pt x="528" y="272"/>
                    </a:cubicBezTo>
                    <a:cubicBezTo>
                      <a:pt x="516" y="260"/>
                      <a:pt x="504" y="249"/>
                      <a:pt x="492" y="238"/>
                    </a:cubicBezTo>
                    <a:cubicBezTo>
                      <a:pt x="468" y="216"/>
                      <a:pt x="444" y="193"/>
                      <a:pt x="419" y="171"/>
                    </a:cubicBezTo>
                    <a:cubicBezTo>
                      <a:pt x="407" y="159"/>
                      <a:pt x="395" y="148"/>
                      <a:pt x="383" y="136"/>
                    </a:cubicBezTo>
                    <a:cubicBezTo>
                      <a:pt x="377" y="131"/>
                      <a:pt x="370" y="125"/>
                      <a:pt x="364" y="119"/>
                    </a:cubicBezTo>
                    <a:cubicBezTo>
                      <a:pt x="355" y="111"/>
                      <a:pt x="355" y="111"/>
                      <a:pt x="355" y="111"/>
                    </a:cubicBezTo>
                    <a:cubicBezTo>
                      <a:pt x="353" y="109"/>
                      <a:pt x="353" y="109"/>
                      <a:pt x="353" y="109"/>
                    </a:cubicBezTo>
                    <a:cubicBezTo>
                      <a:pt x="351" y="107"/>
                      <a:pt x="351" y="107"/>
                      <a:pt x="351" y="107"/>
                    </a:cubicBezTo>
                    <a:cubicBezTo>
                      <a:pt x="346" y="103"/>
                      <a:pt x="346" y="103"/>
                      <a:pt x="346" y="103"/>
                    </a:cubicBezTo>
                    <a:cubicBezTo>
                      <a:pt x="323" y="84"/>
                      <a:pt x="295" y="69"/>
                      <a:pt x="265" y="62"/>
                    </a:cubicBezTo>
                    <a:cubicBezTo>
                      <a:pt x="250" y="58"/>
                      <a:pt x="234" y="56"/>
                      <a:pt x="219" y="56"/>
                    </a:cubicBezTo>
                    <a:cubicBezTo>
                      <a:pt x="201" y="56"/>
                      <a:pt x="184" y="57"/>
                      <a:pt x="167" y="57"/>
                    </a:cubicBezTo>
                    <a:cubicBezTo>
                      <a:pt x="135" y="57"/>
                      <a:pt x="80" y="57"/>
                      <a:pt x="72" y="57"/>
                    </a:cubicBezTo>
                    <a:cubicBezTo>
                      <a:pt x="69" y="57"/>
                      <a:pt x="67" y="57"/>
                      <a:pt x="66" y="58"/>
                    </a:cubicBezTo>
                    <a:cubicBezTo>
                      <a:pt x="65" y="58"/>
                      <a:pt x="65" y="58"/>
                      <a:pt x="65" y="59"/>
                    </a:cubicBezTo>
                    <a:cubicBezTo>
                      <a:pt x="64" y="59"/>
                      <a:pt x="63" y="60"/>
                      <a:pt x="62" y="61"/>
                    </a:cubicBezTo>
                    <a:cubicBezTo>
                      <a:pt x="62" y="61"/>
                      <a:pt x="62" y="62"/>
                      <a:pt x="61" y="63"/>
                    </a:cubicBezTo>
                    <a:cubicBezTo>
                      <a:pt x="61" y="63"/>
                      <a:pt x="61" y="64"/>
                      <a:pt x="61" y="64"/>
                    </a:cubicBezTo>
                    <a:cubicBezTo>
                      <a:pt x="60" y="66"/>
                      <a:pt x="60" y="68"/>
                      <a:pt x="60" y="69"/>
                    </a:cubicBezTo>
                    <a:cubicBezTo>
                      <a:pt x="60" y="78"/>
                      <a:pt x="61" y="479"/>
                      <a:pt x="62" y="685"/>
                    </a:cubicBezTo>
                    <a:cubicBezTo>
                      <a:pt x="62" y="698"/>
                      <a:pt x="62" y="711"/>
                      <a:pt x="62" y="724"/>
                    </a:cubicBezTo>
                    <a:cubicBezTo>
                      <a:pt x="62" y="743"/>
                      <a:pt x="62" y="743"/>
                      <a:pt x="62" y="743"/>
                    </a:cubicBezTo>
                    <a:cubicBezTo>
                      <a:pt x="62" y="753"/>
                      <a:pt x="62" y="753"/>
                      <a:pt x="62" y="753"/>
                    </a:cubicBezTo>
                    <a:cubicBezTo>
                      <a:pt x="62" y="758"/>
                      <a:pt x="62" y="758"/>
                      <a:pt x="62" y="758"/>
                    </a:cubicBezTo>
                    <a:cubicBezTo>
                      <a:pt x="62" y="759"/>
                      <a:pt x="62" y="760"/>
                      <a:pt x="62" y="761"/>
                    </a:cubicBezTo>
                    <a:cubicBezTo>
                      <a:pt x="63" y="780"/>
                      <a:pt x="73" y="799"/>
                      <a:pt x="88" y="815"/>
                    </a:cubicBezTo>
                    <a:cubicBezTo>
                      <a:pt x="103" y="830"/>
                      <a:pt x="123" y="842"/>
                      <a:pt x="144" y="850"/>
                    </a:cubicBezTo>
                    <a:cubicBezTo>
                      <a:pt x="154" y="853"/>
                      <a:pt x="165" y="856"/>
                      <a:pt x="176" y="857"/>
                    </a:cubicBezTo>
                    <a:cubicBezTo>
                      <a:pt x="178" y="857"/>
                      <a:pt x="181" y="857"/>
                      <a:pt x="183" y="858"/>
                    </a:cubicBezTo>
                    <a:cubicBezTo>
                      <a:pt x="185" y="858"/>
                      <a:pt x="186" y="858"/>
                      <a:pt x="187" y="858"/>
                    </a:cubicBezTo>
                    <a:cubicBezTo>
                      <a:pt x="192" y="858"/>
                      <a:pt x="192" y="858"/>
                      <a:pt x="192" y="858"/>
                    </a:cubicBezTo>
                    <a:cubicBezTo>
                      <a:pt x="199" y="858"/>
                      <a:pt x="205" y="857"/>
                      <a:pt x="211" y="857"/>
                    </a:cubicBezTo>
                    <a:cubicBezTo>
                      <a:pt x="217" y="857"/>
                      <a:pt x="223" y="857"/>
                      <a:pt x="229" y="857"/>
                    </a:cubicBezTo>
                    <a:cubicBezTo>
                      <a:pt x="232" y="856"/>
                      <a:pt x="232" y="856"/>
                      <a:pt x="232" y="856"/>
                    </a:cubicBezTo>
                    <a:cubicBezTo>
                      <a:pt x="233" y="856"/>
                      <a:pt x="233" y="856"/>
                      <a:pt x="233" y="856"/>
                    </a:cubicBezTo>
                    <a:cubicBezTo>
                      <a:pt x="234" y="856"/>
                      <a:pt x="236" y="856"/>
                      <a:pt x="237" y="856"/>
                    </a:cubicBezTo>
                    <a:cubicBezTo>
                      <a:pt x="238" y="856"/>
                      <a:pt x="239" y="855"/>
                      <a:pt x="240" y="855"/>
                    </a:cubicBezTo>
                    <a:cubicBezTo>
                      <a:pt x="241" y="855"/>
                      <a:pt x="242" y="854"/>
                      <a:pt x="242" y="853"/>
                    </a:cubicBezTo>
                    <a:cubicBezTo>
                      <a:pt x="243" y="851"/>
                      <a:pt x="243" y="848"/>
                      <a:pt x="243" y="846"/>
                    </a:cubicBezTo>
                    <a:cubicBezTo>
                      <a:pt x="243" y="823"/>
                      <a:pt x="243" y="800"/>
                      <a:pt x="243" y="777"/>
                    </a:cubicBezTo>
                    <a:cubicBezTo>
                      <a:pt x="242" y="726"/>
                      <a:pt x="242" y="676"/>
                      <a:pt x="242" y="626"/>
                    </a:cubicBezTo>
                    <a:cubicBezTo>
                      <a:pt x="242" y="619"/>
                      <a:pt x="242" y="613"/>
                      <a:pt x="242" y="606"/>
                    </a:cubicBezTo>
                    <a:cubicBezTo>
                      <a:pt x="242" y="598"/>
                      <a:pt x="243" y="591"/>
                      <a:pt x="244" y="583"/>
                    </a:cubicBezTo>
                    <a:cubicBezTo>
                      <a:pt x="247" y="568"/>
                      <a:pt x="252" y="553"/>
                      <a:pt x="260" y="539"/>
                    </a:cubicBezTo>
                    <a:cubicBezTo>
                      <a:pt x="275" y="511"/>
                      <a:pt x="299" y="488"/>
                      <a:pt x="328" y="475"/>
                    </a:cubicBezTo>
                    <a:cubicBezTo>
                      <a:pt x="343" y="469"/>
                      <a:pt x="359" y="465"/>
                      <a:pt x="375" y="463"/>
                    </a:cubicBezTo>
                    <a:cubicBezTo>
                      <a:pt x="379" y="463"/>
                      <a:pt x="383" y="463"/>
                      <a:pt x="387" y="463"/>
                    </a:cubicBezTo>
                    <a:cubicBezTo>
                      <a:pt x="391" y="463"/>
                      <a:pt x="394" y="463"/>
                      <a:pt x="398" y="463"/>
                    </a:cubicBezTo>
                    <a:cubicBezTo>
                      <a:pt x="405" y="464"/>
                      <a:pt x="413" y="464"/>
                      <a:pt x="420" y="466"/>
                    </a:cubicBezTo>
                    <a:cubicBezTo>
                      <a:pt x="449" y="470"/>
                      <a:pt x="478" y="480"/>
                      <a:pt x="503" y="493"/>
                    </a:cubicBezTo>
                    <a:cubicBezTo>
                      <a:pt x="529" y="506"/>
                      <a:pt x="552" y="522"/>
                      <a:pt x="573" y="539"/>
                    </a:cubicBezTo>
                    <a:cubicBezTo>
                      <a:pt x="595" y="556"/>
                      <a:pt x="615" y="575"/>
                      <a:pt x="634" y="593"/>
                    </a:cubicBezTo>
                    <a:cubicBezTo>
                      <a:pt x="643" y="602"/>
                      <a:pt x="653" y="610"/>
                      <a:pt x="662" y="619"/>
                    </a:cubicBezTo>
                    <a:cubicBezTo>
                      <a:pt x="676" y="632"/>
                      <a:pt x="676" y="632"/>
                      <a:pt x="676" y="632"/>
                    </a:cubicBezTo>
                    <a:cubicBezTo>
                      <a:pt x="681" y="637"/>
                      <a:pt x="686" y="641"/>
                      <a:pt x="691" y="645"/>
                    </a:cubicBezTo>
                    <a:cubicBezTo>
                      <a:pt x="710" y="663"/>
                      <a:pt x="729" y="680"/>
                      <a:pt x="748" y="698"/>
                    </a:cubicBezTo>
                    <a:cubicBezTo>
                      <a:pt x="767" y="715"/>
                      <a:pt x="785" y="731"/>
                      <a:pt x="804" y="746"/>
                    </a:cubicBezTo>
                    <a:cubicBezTo>
                      <a:pt x="823" y="761"/>
                      <a:pt x="842" y="774"/>
                      <a:pt x="862" y="783"/>
                    </a:cubicBezTo>
                    <a:cubicBezTo>
                      <a:pt x="882" y="793"/>
                      <a:pt x="902" y="798"/>
                      <a:pt x="922" y="799"/>
                    </a:cubicBezTo>
                    <a:cubicBezTo>
                      <a:pt x="942" y="799"/>
                      <a:pt x="962" y="795"/>
                      <a:pt x="981" y="786"/>
                    </a:cubicBezTo>
                    <a:cubicBezTo>
                      <a:pt x="1000" y="778"/>
                      <a:pt x="1018" y="767"/>
                      <a:pt x="1035" y="754"/>
                    </a:cubicBezTo>
                    <a:cubicBezTo>
                      <a:pt x="1053" y="742"/>
                      <a:pt x="1069" y="728"/>
                      <a:pt x="1085" y="714"/>
                    </a:cubicBezTo>
                    <a:cubicBezTo>
                      <a:pt x="1101" y="700"/>
                      <a:pt x="1117" y="686"/>
                      <a:pt x="1133" y="672"/>
                    </a:cubicBezTo>
                    <a:cubicBezTo>
                      <a:pt x="1140" y="666"/>
                      <a:pt x="1148" y="659"/>
                      <a:pt x="1156" y="652"/>
                    </a:cubicBezTo>
                    <a:cubicBezTo>
                      <a:pt x="1159" y="649"/>
                      <a:pt x="1163" y="646"/>
                      <a:pt x="1167" y="642"/>
                    </a:cubicBezTo>
                    <a:cubicBezTo>
                      <a:pt x="1171" y="639"/>
                      <a:pt x="1174" y="636"/>
                      <a:pt x="1178" y="633"/>
                    </a:cubicBezTo>
                    <a:cubicBezTo>
                      <a:pt x="1210" y="604"/>
                      <a:pt x="1242" y="573"/>
                      <a:pt x="1277" y="546"/>
                    </a:cubicBezTo>
                    <a:cubicBezTo>
                      <a:pt x="1295" y="532"/>
                      <a:pt x="1313" y="519"/>
                      <a:pt x="1333" y="508"/>
                    </a:cubicBezTo>
                    <a:cubicBezTo>
                      <a:pt x="1352" y="497"/>
                      <a:pt x="1373" y="488"/>
                      <a:pt x="1395" y="481"/>
                    </a:cubicBezTo>
                    <a:cubicBezTo>
                      <a:pt x="1417" y="475"/>
                      <a:pt x="1440" y="472"/>
                      <a:pt x="1463" y="472"/>
                    </a:cubicBezTo>
                    <a:cubicBezTo>
                      <a:pt x="1487" y="473"/>
                      <a:pt x="1511" y="481"/>
                      <a:pt x="1531" y="493"/>
                    </a:cubicBezTo>
                    <a:cubicBezTo>
                      <a:pt x="1551" y="506"/>
                      <a:pt x="1567" y="524"/>
                      <a:pt x="1578" y="544"/>
                    </a:cubicBezTo>
                    <a:cubicBezTo>
                      <a:pt x="1589" y="564"/>
                      <a:pt x="1594" y="587"/>
                      <a:pt x="1594" y="610"/>
                    </a:cubicBezTo>
                    <a:cubicBezTo>
                      <a:pt x="1593" y="644"/>
                      <a:pt x="1593" y="676"/>
                      <a:pt x="1592" y="706"/>
                    </a:cubicBezTo>
                    <a:cubicBezTo>
                      <a:pt x="1592" y="721"/>
                      <a:pt x="1592" y="735"/>
                      <a:pt x="1592" y="749"/>
                    </a:cubicBezTo>
                    <a:cubicBezTo>
                      <a:pt x="1592" y="752"/>
                      <a:pt x="1592" y="756"/>
                      <a:pt x="1591" y="759"/>
                    </a:cubicBezTo>
                    <a:cubicBezTo>
                      <a:pt x="1591" y="762"/>
                      <a:pt x="1592" y="764"/>
                      <a:pt x="1592" y="767"/>
                    </a:cubicBezTo>
                    <a:cubicBezTo>
                      <a:pt x="1592" y="773"/>
                      <a:pt x="1594" y="778"/>
                      <a:pt x="1595" y="783"/>
                    </a:cubicBezTo>
                    <a:cubicBezTo>
                      <a:pt x="1599" y="796"/>
                      <a:pt x="1606" y="808"/>
                      <a:pt x="1614" y="818"/>
                    </a:cubicBezTo>
                    <a:cubicBezTo>
                      <a:pt x="1623" y="828"/>
                      <a:pt x="1632" y="837"/>
                      <a:pt x="1642" y="844"/>
                    </a:cubicBezTo>
                    <a:cubicBezTo>
                      <a:pt x="1647" y="848"/>
                      <a:pt x="1649" y="851"/>
                      <a:pt x="1650" y="852"/>
                    </a:cubicBezTo>
                    <a:close/>
                    <a:moveTo>
                      <a:pt x="1301" y="542"/>
                    </a:moveTo>
                    <a:cubicBezTo>
                      <a:pt x="1281" y="555"/>
                      <a:pt x="1263" y="569"/>
                      <a:pt x="1239" y="590"/>
                    </a:cubicBezTo>
                    <a:cubicBezTo>
                      <a:pt x="1224" y="603"/>
                      <a:pt x="1205" y="620"/>
                      <a:pt x="1185" y="638"/>
                    </a:cubicBezTo>
                    <a:cubicBezTo>
                      <a:pt x="1180" y="642"/>
                      <a:pt x="1175" y="647"/>
                      <a:pt x="1170" y="651"/>
                    </a:cubicBezTo>
                    <a:cubicBezTo>
                      <a:pt x="1165" y="656"/>
                      <a:pt x="1159" y="661"/>
                      <a:pt x="1154" y="665"/>
                    </a:cubicBezTo>
                    <a:cubicBezTo>
                      <a:pt x="1143" y="675"/>
                      <a:pt x="1131" y="685"/>
                      <a:pt x="1120" y="695"/>
                    </a:cubicBezTo>
                    <a:cubicBezTo>
                      <a:pt x="1094" y="718"/>
                      <a:pt x="1068" y="742"/>
                      <a:pt x="1040" y="762"/>
                    </a:cubicBezTo>
                    <a:cubicBezTo>
                      <a:pt x="1012" y="782"/>
                      <a:pt x="982" y="799"/>
                      <a:pt x="950" y="805"/>
                    </a:cubicBezTo>
                    <a:cubicBezTo>
                      <a:pt x="934" y="809"/>
                      <a:pt x="918" y="809"/>
                      <a:pt x="902" y="806"/>
                    </a:cubicBezTo>
                    <a:cubicBezTo>
                      <a:pt x="886" y="803"/>
                      <a:pt x="870" y="797"/>
                      <a:pt x="854" y="790"/>
                    </a:cubicBezTo>
                    <a:cubicBezTo>
                      <a:pt x="824" y="774"/>
                      <a:pt x="796" y="752"/>
                      <a:pt x="770" y="729"/>
                    </a:cubicBezTo>
                    <a:cubicBezTo>
                      <a:pt x="745" y="707"/>
                      <a:pt x="719" y="682"/>
                      <a:pt x="692" y="657"/>
                    </a:cubicBezTo>
                    <a:cubicBezTo>
                      <a:pt x="685" y="651"/>
                      <a:pt x="678" y="645"/>
                      <a:pt x="671" y="639"/>
                    </a:cubicBezTo>
                    <a:cubicBezTo>
                      <a:pt x="665" y="632"/>
                      <a:pt x="658" y="626"/>
                      <a:pt x="651" y="620"/>
                    </a:cubicBezTo>
                    <a:cubicBezTo>
                      <a:pt x="637" y="607"/>
                      <a:pt x="624" y="593"/>
                      <a:pt x="609" y="580"/>
                    </a:cubicBezTo>
                    <a:cubicBezTo>
                      <a:pt x="580" y="554"/>
                      <a:pt x="549" y="527"/>
                      <a:pt x="512" y="506"/>
                    </a:cubicBezTo>
                    <a:cubicBezTo>
                      <a:pt x="494" y="495"/>
                      <a:pt x="474" y="486"/>
                      <a:pt x="453" y="479"/>
                    </a:cubicBezTo>
                    <a:cubicBezTo>
                      <a:pt x="432" y="473"/>
                      <a:pt x="409" y="469"/>
                      <a:pt x="387" y="469"/>
                    </a:cubicBezTo>
                    <a:cubicBezTo>
                      <a:pt x="362" y="469"/>
                      <a:pt x="338" y="475"/>
                      <a:pt x="316" y="488"/>
                    </a:cubicBezTo>
                    <a:cubicBezTo>
                      <a:pt x="295" y="500"/>
                      <a:pt x="278" y="518"/>
                      <a:pt x="265" y="539"/>
                    </a:cubicBezTo>
                    <a:cubicBezTo>
                      <a:pt x="253" y="560"/>
                      <a:pt x="246" y="585"/>
                      <a:pt x="246" y="610"/>
                    </a:cubicBezTo>
                    <a:cubicBezTo>
                      <a:pt x="246" y="630"/>
                      <a:pt x="246" y="651"/>
                      <a:pt x="246" y="672"/>
                    </a:cubicBezTo>
                    <a:cubicBezTo>
                      <a:pt x="246" y="713"/>
                      <a:pt x="247" y="755"/>
                      <a:pt x="247" y="796"/>
                    </a:cubicBezTo>
                    <a:cubicBezTo>
                      <a:pt x="247" y="814"/>
                      <a:pt x="247" y="831"/>
                      <a:pt x="247" y="849"/>
                    </a:cubicBezTo>
                    <a:cubicBezTo>
                      <a:pt x="247" y="851"/>
                      <a:pt x="247" y="854"/>
                      <a:pt x="246" y="856"/>
                    </a:cubicBezTo>
                    <a:cubicBezTo>
                      <a:pt x="245" y="857"/>
                      <a:pt x="244" y="858"/>
                      <a:pt x="243" y="858"/>
                    </a:cubicBezTo>
                    <a:cubicBezTo>
                      <a:pt x="242" y="859"/>
                      <a:pt x="241" y="859"/>
                      <a:pt x="240" y="859"/>
                    </a:cubicBezTo>
                    <a:cubicBezTo>
                      <a:pt x="238" y="860"/>
                      <a:pt x="236" y="860"/>
                      <a:pt x="233" y="860"/>
                    </a:cubicBezTo>
                    <a:cubicBezTo>
                      <a:pt x="230" y="860"/>
                      <a:pt x="230" y="860"/>
                      <a:pt x="230" y="860"/>
                    </a:cubicBezTo>
                    <a:cubicBezTo>
                      <a:pt x="223" y="861"/>
                      <a:pt x="223" y="861"/>
                      <a:pt x="223" y="861"/>
                    </a:cubicBezTo>
                    <a:cubicBezTo>
                      <a:pt x="213" y="861"/>
                      <a:pt x="204" y="861"/>
                      <a:pt x="195" y="861"/>
                    </a:cubicBezTo>
                    <a:cubicBezTo>
                      <a:pt x="188" y="861"/>
                      <a:pt x="188" y="861"/>
                      <a:pt x="188" y="861"/>
                    </a:cubicBezTo>
                    <a:cubicBezTo>
                      <a:pt x="185" y="861"/>
                      <a:pt x="184" y="861"/>
                      <a:pt x="181" y="861"/>
                    </a:cubicBezTo>
                    <a:cubicBezTo>
                      <a:pt x="177" y="861"/>
                      <a:pt x="173" y="861"/>
                      <a:pt x="169" y="860"/>
                    </a:cubicBezTo>
                    <a:cubicBezTo>
                      <a:pt x="153" y="858"/>
                      <a:pt x="137" y="852"/>
                      <a:pt x="121" y="844"/>
                    </a:cubicBezTo>
                    <a:cubicBezTo>
                      <a:pt x="106" y="836"/>
                      <a:pt x="93" y="826"/>
                      <a:pt x="81" y="813"/>
                    </a:cubicBezTo>
                    <a:cubicBezTo>
                      <a:pt x="70" y="801"/>
                      <a:pt x="62" y="787"/>
                      <a:pt x="59" y="771"/>
                    </a:cubicBezTo>
                    <a:cubicBezTo>
                      <a:pt x="59" y="768"/>
                      <a:pt x="58" y="764"/>
                      <a:pt x="58" y="760"/>
                    </a:cubicBezTo>
                    <a:cubicBezTo>
                      <a:pt x="58" y="757"/>
                      <a:pt x="58" y="757"/>
                      <a:pt x="58" y="757"/>
                    </a:cubicBezTo>
                    <a:cubicBezTo>
                      <a:pt x="58" y="753"/>
                      <a:pt x="58" y="753"/>
                      <a:pt x="58" y="753"/>
                    </a:cubicBezTo>
                    <a:cubicBezTo>
                      <a:pt x="58" y="746"/>
                      <a:pt x="58" y="746"/>
                      <a:pt x="58" y="746"/>
                    </a:cubicBezTo>
                    <a:cubicBezTo>
                      <a:pt x="58" y="736"/>
                      <a:pt x="58" y="726"/>
                      <a:pt x="58" y="717"/>
                    </a:cubicBezTo>
                    <a:cubicBezTo>
                      <a:pt x="58" y="697"/>
                      <a:pt x="58" y="677"/>
                      <a:pt x="57" y="657"/>
                    </a:cubicBezTo>
                    <a:cubicBezTo>
                      <a:pt x="57" y="618"/>
                      <a:pt x="57" y="578"/>
                      <a:pt x="57" y="538"/>
                    </a:cubicBezTo>
                    <a:cubicBezTo>
                      <a:pt x="57" y="400"/>
                      <a:pt x="56" y="143"/>
                      <a:pt x="55" y="81"/>
                    </a:cubicBezTo>
                    <a:cubicBezTo>
                      <a:pt x="55" y="72"/>
                      <a:pt x="56" y="68"/>
                      <a:pt x="56" y="67"/>
                    </a:cubicBezTo>
                    <a:cubicBezTo>
                      <a:pt x="56" y="58"/>
                      <a:pt x="56" y="53"/>
                      <a:pt x="70" y="53"/>
                    </a:cubicBezTo>
                    <a:cubicBezTo>
                      <a:pt x="89" y="53"/>
                      <a:pt x="122" y="52"/>
                      <a:pt x="148" y="52"/>
                    </a:cubicBezTo>
                    <a:cubicBezTo>
                      <a:pt x="162" y="52"/>
                      <a:pt x="176" y="52"/>
                      <a:pt x="190" y="52"/>
                    </a:cubicBezTo>
                    <a:cubicBezTo>
                      <a:pt x="197" y="52"/>
                      <a:pt x="204" y="52"/>
                      <a:pt x="211" y="52"/>
                    </a:cubicBezTo>
                    <a:cubicBezTo>
                      <a:pt x="222" y="52"/>
                      <a:pt x="222" y="52"/>
                      <a:pt x="222" y="52"/>
                    </a:cubicBezTo>
                    <a:cubicBezTo>
                      <a:pt x="225" y="52"/>
                      <a:pt x="228" y="52"/>
                      <a:pt x="231" y="53"/>
                    </a:cubicBezTo>
                    <a:cubicBezTo>
                      <a:pt x="257" y="54"/>
                      <a:pt x="282" y="61"/>
                      <a:pt x="306" y="72"/>
                    </a:cubicBezTo>
                    <a:cubicBezTo>
                      <a:pt x="317" y="78"/>
                      <a:pt x="328" y="84"/>
                      <a:pt x="339" y="92"/>
                    </a:cubicBezTo>
                    <a:cubicBezTo>
                      <a:pt x="344" y="95"/>
                      <a:pt x="349" y="99"/>
                      <a:pt x="353" y="104"/>
                    </a:cubicBezTo>
                    <a:cubicBezTo>
                      <a:pt x="358" y="108"/>
                      <a:pt x="363" y="113"/>
                      <a:pt x="368" y="117"/>
                    </a:cubicBezTo>
                    <a:cubicBezTo>
                      <a:pt x="408" y="155"/>
                      <a:pt x="448" y="191"/>
                      <a:pt x="487" y="228"/>
                    </a:cubicBezTo>
                    <a:cubicBezTo>
                      <a:pt x="506" y="246"/>
                      <a:pt x="525" y="264"/>
                      <a:pt x="544" y="281"/>
                    </a:cubicBezTo>
                    <a:cubicBezTo>
                      <a:pt x="552" y="288"/>
                      <a:pt x="552" y="288"/>
                      <a:pt x="552" y="288"/>
                    </a:cubicBezTo>
                    <a:cubicBezTo>
                      <a:pt x="555" y="291"/>
                      <a:pt x="555" y="291"/>
                      <a:pt x="555" y="291"/>
                    </a:cubicBezTo>
                    <a:cubicBezTo>
                      <a:pt x="558" y="295"/>
                      <a:pt x="558" y="295"/>
                      <a:pt x="558" y="295"/>
                    </a:cubicBezTo>
                    <a:cubicBezTo>
                      <a:pt x="563" y="299"/>
                      <a:pt x="568" y="304"/>
                      <a:pt x="573" y="308"/>
                    </a:cubicBezTo>
                    <a:cubicBezTo>
                      <a:pt x="583" y="317"/>
                      <a:pt x="593" y="326"/>
                      <a:pt x="604" y="334"/>
                    </a:cubicBezTo>
                    <a:cubicBezTo>
                      <a:pt x="641" y="362"/>
                      <a:pt x="680" y="382"/>
                      <a:pt x="716" y="397"/>
                    </a:cubicBezTo>
                    <a:cubicBezTo>
                      <a:pt x="752" y="411"/>
                      <a:pt x="786" y="420"/>
                      <a:pt x="815" y="425"/>
                    </a:cubicBezTo>
                    <a:cubicBezTo>
                      <a:pt x="843" y="430"/>
                      <a:pt x="868" y="432"/>
                      <a:pt x="886" y="432"/>
                    </a:cubicBezTo>
                    <a:cubicBezTo>
                      <a:pt x="904" y="433"/>
                      <a:pt x="916" y="432"/>
                      <a:pt x="922" y="432"/>
                    </a:cubicBezTo>
                    <a:cubicBezTo>
                      <a:pt x="944" y="431"/>
                      <a:pt x="960" y="428"/>
                      <a:pt x="971" y="426"/>
                    </a:cubicBezTo>
                    <a:cubicBezTo>
                      <a:pt x="982" y="424"/>
                      <a:pt x="988" y="423"/>
                      <a:pt x="989" y="422"/>
                    </a:cubicBezTo>
                    <a:cubicBezTo>
                      <a:pt x="989" y="420"/>
                      <a:pt x="985" y="420"/>
                      <a:pt x="975" y="420"/>
                    </a:cubicBezTo>
                    <a:cubicBezTo>
                      <a:pt x="965" y="420"/>
                      <a:pt x="952" y="420"/>
                      <a:pt x="928" y="419"/>
                    </a:cubicBezTo>
                    <a:cubicBezTo>
                      <a:pt x="899" y="418"/>
                      <a:pt x="856" y="415"/>
                      <a:pt x="804" y="402"/>
                    </a:cubicBezTo>
                    <a:cubicBezTo>
                      <a:pt x="778" y="395"/>
                      <a:pt x="749" y="386"/>
                      <a:pt x="720" y="373"/>
                    </a:cubicBezTo>
                    <a:cubicBezTo>
                      <a:pt x="690" y="359"/>
                      <a:pt x="659" y="342"/>
                      <a:pt x="630" y="320"/>
                    </a:cubicBezTo>
                    <a:cubicBezTo>
                      <a:pt x="615" y="308"/>
                      <a:pt x="600" y="296"/>
                      <a:pt x="585" y="282"/>
                    </a:cubicBezTo>
                    <a:cubicBezTo>
                      <a:pt x="582" y="279"/>
                      <a:pt x="578" y="275"/>
                      <a:pt x="575" y="272"/>
                    </a:cubicBezTo>
                    <a:cubicBezTo>
                      <a:pt x="571" y="268"/>
                      <a:pt x="567" y="265"/>
                      <a:pt x="563" y="261"/>
                    </a:cubicBezTo>
                    <a:cubicBezTo>
                      <a:pt x="556" y="254"/>
                      <a:pt x="548" y="246"/>
                      <a:pt x="540" y="239"/>
                    </a:cubicBezTo>
                    <a:cubicBezTo>
                      <a:pt x="510" y="209"/>
                      <a:pt x="477" y="178"/>
                      <a:pt x="443" y="145"/>
                    </a:cubicBezTo>
                    <a:cubicBezTo>
                      <a:pt x="426" y="129"/>
                      <a:pt x="409" y="112"/>
                      <a:pt x="391" y="95"/>
                    </a:cubicBezTo>
                    <a:cubicBezTo>
                      <a:pt x="386" y="91"/>
                      <a:pt x="382" y="87"/>
                      <a:pt x="377" y="83"/>
                    </a:cubicBezTo>
                    <a:cubicBezTo>
                      <a:pt x="372" y="78"/>
                      <a:pt x="367" y="74"/>
                      <a:pt x="362" y="70"/>
                    </a:cubicBezTo>
                    <a:cubicBezTo>
                      <a:pt x="352" y="61"/>
                      <a:pt x="340" y="54"/>
                      <a:pt x="328" y="47"/>
                    </a:cubicBezTo>
                    <a:cubicBezTo>
                      <a:pt x="304" y="35"/>
                      <a:pt x="278" y="25"/>
                      <a:pt x="250" y="21"/>
                    </a:cubicBezTo>
                    <a:cubicBezTo>
                      <a:pt x="243" y="20"/>
                      <a:pt x="236" y="20"/>
                      <a:pt x="229" y="19"/>
                    </a:cubicBezTo>
                    <a:cubicBezTo>
                      <a:pt x="224" y="19"/>
                      <a:pt x="224" y="19"/>
                      <a:pt x="224" y="19"/>
                    </a:cubicBezTo>
                    <a:cubicBezTo>
                      <a:pt x="222" y="19"/>
                      <a:pt x="220" y="19"/>
                      <a:pt x="218" y="19"/>
                    </a:cubicBezTo>
                    <a:cubicBezTo>
                      <a:pt x="215" y="19"/>
                      <a:pt x="212" y="19"/>
                      <a:pt x="208" y="19"/>
                    </a:cubicBezTo>
                    <a:cubicBezTo>
                      <a:pt x="195" y="19"/>
                      <a:pt x="181" y="19"/>
                      <a:pt x="168" y="18"/>
                    </a:cubicBezTo>
                    <a:cubicBezTo>
                      <a:pt x="131" y="18"/>
                      <a:pt x="94" y="18"/>
                      <a:pt x="56" y="18"/>
                    </a:cubicBezTo>
                    <a:cubicBezTo>
                      <a:pt x="34" y="19"/>
                      <a:pt x="21" y="34"/>
                      <a:pt x="21" y="53"/>
                    </a:cubicBezTo>
                    <a:cubicBezTo>
                      <a:pt x="21" y="71"/>
                      <a:pt x="20" y="142"/>
                      <a:pt x="20" y="186"/>
                    </a:cubicBezTo>
                    <a:cubicBezTo>
                      <a:pt x="19" y="304"/>
                      <a:pt x="19" y="424"/>
                      <a:pt x="18" y="545"/>
                    </a:cubicBezTo>
                    <a:cubicBezTo>
                      <a:pt x="18" y="605"/>
                      <a:pt x="18" y="665"/>
                      <a:pt x="18" y="726"/>
                    </a:cubicBezTo>
                    <a:cubicBezTo>
                      <a:pt x="18" y="748"/>
                      <a:pt x="18" y="748"/>
                      <a:pt x="18" y="748"/>
                    </a:cubicBezTo>
                    <a:cubicBezTo>
                      <a:pt x="18" y="760"/>
                      <a:pt x="18" y="760"/>
                      <a:pt x="18" y="760"/>
                    </a:cubicBezTo>
                    <a:cubicBezTo>
                      <a:pt x="18" y="764"/>
                      <a:pt x="19" y="769"/>
                      <a:pt x="19" y="774"/>
                    </a:cubicBezTo>
                    <a:cubicBezTo>
                      <a:pt x="22" y="792"/>
                      <a:pt x="29" y="809"/>
                      <a:pt x="39" y="823"/>
                    </a:cubicBezTo>
                    <a:cubicBezTo>
                      <a:pt x="48" y="838"/>
                      <a:pt x="60" y="850"/>
                      <a:pt x="73" y="861"/>
                    </a:cubicBezTo>
                    <a:cubicBezTo>
                      <a:pt x="86" y="871"/>
                      <a:pt x="101" y="880"/>
                      <a:pt x="116" y="887"/>
                    </a:cubicBezTo>
                    <a:cubicBezTo>
                      <a:pt x="131" y="893"/>
                      <a:pt x="147" y="898"/>
                      <a:pt x="164" y="901"/>
                    </a:cubicBezTo>
                    <a:cubicBezTo>
                      <a:pt x="168" y="901"/>
                      <a:pt x="172" y="902"/>
                      <a:pt x="177" y="902"/>
                    </a:cubicBezTo>
                    <a:cubicBezTo>
                      <a:pt x="179" y="902"/>
                      <a:pt x="181" y="902"/>
                      <a:pt x="183" y="902"/>
                    </a:cubicBezTo>
                    <a:cubicBezTo>
                      <a:pt x="189" y="902"/>
                      <a:pt x="189" y="902"/>
                      <a:pt x="189" y="902"/>
                    </a:cubicBezTo>
                    <a:cubicBezTo>
                      <a:pt x="197" y="902"/>
                      <a:pt x="204" y="902"/>
                      <a:pt x="212" y="902"/>
                    </a:cubicBezTo>
                    <a:cubicBezTo>
                      <a:pt x="223" y="902"/>
                      <a:pt x="223" y="902"/>
                      <a:pt x="223" y="902"/>
                    </a:cubicBezTo>
                    <a:cubicBezTo>
                      <a:pt x="229" y="902"/>
                      <a:pt x="229" y="902"/>
                      <a:pt x="229" y="902"/>
                    </a:cubicBezTo>
                    <a:cubicBezTo>
                      <a:pt x="236" y="901"/>
                      <a:pt x="236" y="901"/>
                      <a:pt x="236" y="901"/>
                    </a:cubicBezTo>
                    <a:cubicBezTo>
                      <a:pt x="247" y="901"/>
                      <a:pt x="258" y="899"/>
                      <a:pt x="268" y="896"/>
                    </a:cubicBezTo>
                    <a:cubicBezTo>
                      <a:pt x="272" y="894"/>
                      <a:pt x="277" y="891"/>
                      <a:pt x="280" y="886"/>
                    </a:cubicBezTo>
                    <a:cubicBezTo>
                      <a:pt x="283" y="882"/>
                      <a:pt x="285" y="878"/>
                      <a:pt x="286" y="873"/>
                    </a:cubicBezTo>
                    <a:cubicBezTo>
                      <a:pt x="287" y="870"/>
                      <a:pt x="287" y="868"/>
                      <a:pt x="288" y="865"/>
                    </a:cubicBezTo>
                    <a:cubicBezTo>
                      <a:pt x="288" y="862"/>
                      <a:pt x="288" y="860"/>
                      <a:pt x="288" y="857"/>
                    </a:cubicBezTo>
                    <a:cubicBezTo>
                      <a:pt x="288" y="841"/>
                      <a:pt x="288" y="841"/>
                      <a:pt x="288" y="841"/>
                    </a:cubicBezTo>
                    <a:cubicBezTo>
                      <a:pt x="288" y="782"/>
                      <a:pt x="288" y="724"/>
                      <a:pt x="288" y="666"/>
                    </a:cubicBezTo>
                    <a:cubicBezTo>
                      <a:pt x="288" y="652"/>
                      <a:pt x="288" y="638"/>
                      <a:pt x="288" y="623"/>
                    </a:cubicBezTo>
                    <a:cubicBezTo>
                      <a:pt x="288" y="616"/>
                      <a:pt x="287" y="609"/>
                      <a:pt x="288" y="603"/>
                    </a:cubicBezTo>
                    <a:cubicBezTo>
                      <a:pt x="288" y="597"/>
                      <a:pt x="289" y="591"/>
                      <a:pt x="290" y="586"/>
                    </a:cubicBezTo>
                    <a:cubicBezTo>
                      <a:pt x="296" y="562"/>
                      <a:pt x="310" y="541"/>
                      <a:pt x="329" y="528"/>
                    </a:cubicBezTo>
                    <a:cubicBezTo>
                      <a:pt x="339" y="521"/>
                      <a:pt x="349" y="515"/>
                      <a:pt x="360" y="512"/>
                    </a:cubicBezTo>
                    <a:cubicBezTo>
                      <a:pt x="366" y="511"/>
                      <a:pt x="372" y="510"/>
                      <a:pt x="377" y="509"/>
                    </a:cubicBezTo>
                    <a:cubicBezTo>
                      <a:pt x="380" y="509"/>
                      <a:pt x="383" y="509"/>
                      <a:pt x="386" y="509"/>
                    </a:cubicBezTo>
                    <a:cubicBezTo>
                      <a:pt x="389" y="509"/>
                      <a:pt x="392" y="509"/>
                      <a:pt x="395" y="509"/>
                    </a:cubicBezTo>
                    <a:cubicBezTo>
                      <a:pt x="420" y="510"/>
                      <a:pt x="445" y="516"/>
                      <a:pt x="468" y="526"/>
                    </a:cubicBezTo>
                    <a:cubicBezTo>
                      <a:pt x="491" y="536"/>
                      <a:pt x="512" y="549"/>
                      <a:pt x="532" y="564"/>
                    </a:cubicBezTo>
                    <a:cubicBezTo>
                      <a:pt x="553" y="579"/>
                      <a:pt x="572" y="596"/>
                      <a:pt x="590" y="612"/>
                    </a:cubicBezTo>
                    <a:cubicBezTo>
                      <a:pt x="609" y="629"/>
                      <a:pt x="627" y="646"/>
                      <a:pt x="646" y="663"/>
                    </a:cubicBezTo>
                    <a:cubicBezTo>
                      <a:pt x="655" y="671"/>
                      <a:pt x="664" y="679"/>
                      <a:pt x="673" y="687"/>
                    </a:cubicBezTo>
                    <a:cubicBezTo>
                      <a:pt x="682" y="695"/>
                      <a:pt x="691" y="703"/>
                      <a:pt x="700" y="711"/>
                    </a:cubicBezTo>
                    <a:cubicBezTo>
                      <a:pt x="736" y="742"/>
                      <a:pt x="770" y="774"/>
                      <a:pt x="808" y="798"/>
                    </a:cubicBezTo>
                    <a:cubicBezTo>
                      <a:pt x="828" y="811"/>
                      <a:pt x="848" y="821"/>
                      <a:pt x="869" y="828"/>
                    </a:cubicBezTo>
                    <a:cubicBezTo>
                      <a:pt x="890" y="835"/>
                      <a:pt x="913" y="838"/>
                      <a:pt x="934" y="836"/>
                    </a:cubicBezTo>
                    <a:cubicBezTo>
                      <a:pt x="956" y="834"/>
                      <a:pt x="976" y="828"/>
                      <a:pt x="994" y="820"/>
                    </a:cubicBezTo>
                    <a:cubicBezTo>
                      <a:pt x="1012" y="811"/>
                      <a:pt x="1028" y="801"/>
                      <a:pt x="1043" y="791"/>
                    </a:cubicBezTo>
                    <a:cubicBezTo>
                      <a:pt x="1072" y="770"/>
                      <a:pt x="1096" y="747"/>
                      <a:pt x="1119" y="727"/>
                    </a:cubicBezTo>
                    <a:cubicBezTo>
                      <a:pt x="1140" y="706"/>
                      <a:pt x="1160" y="687"/>
                      <a:pt x="1179" y="670"/>
                    </a:cubicBezTo>
                    <a:cubicBezTo>
                      <a:pt x="1197" y="653"/>
                      <a:pt x="1212" y="637"/>
                      <a:pt x="1226" y="623"/>
                    </a:cubicBezTo>
                    <a:cubicBezTo>
                      <a:pt x="1247" y="602"/>
                      <a:pt x="1259" y="589"/>
                      <a:pt x="1272" y="577"/>
                    </a:cubicBezTo>
                    <a:cubicBezTo>
                      <a:pt x="1291" y="559"/>
                      <a:pt x="1304" y="547"/>
                      <a:pt x="1309" y="541"/>
                    </a:cubicBezTo>
                    <a:cubicBezTo>
                      <a:pt x="1314" y="536"/>
                      <a:pt x="1312" y="535"/>
                      <a:pt x="1301" y="542"/>
                    </a:cubicBezTo>
                    <a:close/>
                    <a:moveTo>
                      <a:pt x="1834" y="859"/>
                    </a:moveTo>
                    <a:cubicBezTo>
                      <a:pt x="1834" y="862"/>
                      <a:pt x="1835" y="865"/>
                      <a:pt x="1834" y="868"/>
                    </a:cubicBezTo>
                    <a:cubicBezTo>
                      <a:pt x="1834" y="871"/>
                      <a:pt x="1833" y="874"/>
                      <a:pt x="1832" y="877"/>
                    </a:cubicBezTo>
                    <a:cubicBezTo>
                      <a:pt x="1831" y="882"/>
                      <a:pt x="1828" y="887"/>
                      <a:pt x="1824" y="892"/>
                    </a:cubicBezTo>
                    <a:cubicBezTo>
                      <a:pt x="1822" y="894"/>
                      <a:pt x="1820" y="896"/>
                      <a:pt x="1818" y="898"/>
                    </a:cubicBezTo>
                    <a:cubicBezTo>
                      <a:pt x="1816" y="900"/>
                      <a:pt x="1813" y="901"/>
                      <a:pt x="1810" y="902"/>
                    </a:cubicBezTo>
                    <a:cubicBezTo>
                      <a:pt x="1805" y="905"/>
                      <a:pt x="1799" y="906"/>
                      <a:pt x="1793" y="907"/>
                    </a:cubicBezTo>
                    <a:cubicBezTo>
                      <a:pt x="1786" y="908"/>
                      <a:pt x="1779" y="909"/>
                      <a:pt x="1773" y="909"/>
                    </a:cubicBezTo>
                    <a:cubicBezTo>
                      <a:pt x="1769" y="910"/>
                      <a:pt x="1764" y="910"/>
                      <a:pt x="1760" y="910"/>
                    </a:cubicBezTo>
                    <a:cubicBezTo>
                      <a:pt x="1752" y="910"/>
                      <a:pt x="1743" y="911"/>
                      <a:pt x="1735" y="911"/>
                    </a:cubicBezTo>
                    <a:cubicBezTo>
                      <a:pt x="1732" y="911"/>
                      <a:pt x="1730" y="911"/>
                      <a:pt x="1728" y="911"/>
                    </a:cubicBezTo>
                    <a:cubicBezTo>
                      <a:pt x="1725" y="911"/>
                      <a:pt x="1723" y="911"/>
                      <a:pt x="1720" y="911"/>
                    </a:cubicBezTo>
                    <a:cubicBezTo>
                      <a:pt x="1715" y="911"/>
                      <a:pt x="1710" y="910"/>
                      <a:pt x="1704" y="910"/>
                    </a:cubicBezTo>
                    <a:cubicBezTo>
                      <a:pt x="1685" y="907"/>
                      <a:pt x="1665" y="901"/>
                      <a:pt x="1645" y="892"/>
                    </a:cubicBezTo>
                    <a:cubicBezTo>
                      <a:pt x="1625" y="882"/>
                      <a:pt x="1605" y="869"/>
                      <a:pt x="1587" y="851"/>
                    </a:cubicBezTo>
                    <a:cubicBezTo>
                      <a:pt x="1578" y="842"/>
                      <a:pt x="1570" y="831"/>
                      <a:pt x="1563" y="819"/>
                    </a:cubicBezTo>
                    <a:cubicBezTo>
                      <a:pt x="1556" y="807"/>
                      <a:pt x="1550" y="793"/>
                      <a:pt x="1548" y="777"/>
                    </a:cubicBezTo>
                    <a:cubicBezTo>
                      <a:pt x="1547" y="773"/>
                      <a:pt x="1546" y="769"/>
                      <a:pt x="1546" y="765"/>
                    </a:cubicBezTo>
                    <a:cubicBezTo>
                      <a:pt x="1546" y="763"/>
                      <a:pt x="1546" y="761"/>
                      <a:pt x="1546" y="759"/>
                    </a:cubicBezTo>
                    <a:cubicBezTo>
                      <a:pt x="1546" y="755"/>
                      <a:pt x="1546" y="755"/>
                      <a:pt x="1546" y="755"/>
                    </a:cubicBezTo>
                    <a:cubicBezTo>
                      <a:pt x="1546" y="749"/>
                      <a:pt x="1546" y="743"/>
                      <a:pt x="1546" y="737"/>
                    </a:cubicBezTo>
                    <a:cubicBezTo>
                      <a:pt x="1545" y="725"/>
                      <a:pt x="1545" y="713"/>
                      <a:pt x="1545" y="700"/>
                    </a:cubicBezTo>
                    <a:cubicBezTo>
                      <a:pt x="1545" y="676"/>
                      <a:pt x="1545" y="650"/>
                      <a:pt x="1544" y="624"/>
                    </a:cubicBezTo>
                    <a:cubicBezTo>
                      <a:pt x="1544" y="620"/>
                      <a:pt x="1544" y="617"/>
                      <a:pt x="1544" y="614"/>
                    </a:cubicBezTo>
                    <a:cubicBezTo>
                      <a:pt x="1544" y="609"/>
                      <a:pt x="1544" y="609"/>
                      <a:pt x="1544" y="609"/>
                    </a:cubicBezTo>
                    <a:cubicBezTo>
                      <a:pt x="1544" y="608"/>
                      <a:pt x="1544" y="607"/>
                      <a:pt x="1544" y="605"/>
                    </a:cubicBezTo>
                    <a:cubicBezTo>
                      <a:pt x="1544" y="601"/>
                      <a:pt x="1543" y="596"/>
                      <a:pt x="1542" y="591"/>
                    </a:cubicBezTo>
                    <a:cubicBezTo>
                      <a:pt x="1540" y="582"/>
                      <a:pt x="1536" y="572"/>
                      <a:pt x="1531" y="564"/>
                    </a:cubicBezTo>
                    <a:cubicBezTo>
                      <a:pt x="1520" y="547"/>
                      <a:pt x="1503" y="534"/>
                      <a:pt x="1483" y="529"/>
                    </a:cubicBezTo>
                    <a:cubicBezTo>
                      <a:pt x="1478" y="527"/>
                      <a:pt x="1473" y="526"/>
                      <a:pt x="1468" y="526"/>
                    </a:cubicBezTo>
                    <a:cubicBezTo>
                      <a:pt x="1466" y="526"/>
                      <a:pt x="1463" y="525"/>
                      <a:pt x="1461" y="525"/>
                    </a:cubicBezTo>
                    <a:cubicBezTo>
                      <a:pt x="1458" y="525"/>
                      <a:pt x="1455" y="526"/>
                      <a:pt x="1452" y="526"/>
                    </a:cubicBezTo>
                    <a:cubicBezTo>
                      <a:pt x="1439" y="527"/>
                      <a:pt x="1427" y="529"/>
                      <a:pt x="1415" y="532"/>
                    </a:cubicBezTo>
                    <a:cubicBezTo>
                      <a:pt x="1391" y="539"/>
                      <a:pt x="1366" y="551"/>
                      <a:pt x="1343" y="567"/>
                    </a:cubicBezTo>
                    <a:cubicBezTo>
                      <a:pt x="1320" y="582"/>
                      <a:pt x="1297" y="601"/>
                      <a:pt x="1275" y="622"/>
                    </a:cubicBezTo>
                    <a:cubicBezTo>
                      <a:pt x="1252" y="643"/>
                      <a:pt x="1229" y="666"/>
                      <a:pt x="1204" y="688"/>
                    </a:cubicBezTo>
                    <a:cubicBezTo>
                      <a:pt x="1181" y="709"/>
                      <a:pt x="1157" y="731"/>
                      <a:pt x="1132" y="753"/>
                    </a:cubicBezTo>
                    <a:cubicBezTo>
                      <a:pt x="1108" y="775"/>
                      <a:pt x="1082" y="798"/>
                      <a:pt x="1052" y="818"/>
                    </a:cubicBezTo>
                    <a:cubicBezTo>
                      <a:pt x="1037" y="828"/>
                      <a:pt x="1021" y="837"/>
                      <a:pt x="1003" y="845"/>
                    </a:cubicBezTo>
                    <a:cubicBezTo>
                      <a:pt x="985" y="853"/>
                      <a:pt x="966" y="859"/>
                      <a:pt x="945" y="861"/>
                    </a:cubicBezTo>
                    <a:cubicBezTo>
                      <a:pt x="925" y="863"/>
                      <a:pt x="904" y="862"/>
                      <a:pt x="884" y="858"/>
                    </a:cubicBezTo>
                    <a:cubicBezTo>
                      <a:pt x="864" y="854"/>
                      <a:pt x="845" y="847"/>
                      <a:pt x="829" y="839"/>
                    </a:cubicBezTo>
                    <a:cubicBezTo>
                      <a:pt x="795" y="822"/>
                      <a:pt x="767" y="800"/>
                      <a:pt x="741" y="778"/>
                    </a:cubicBezTo>
                    <a:cubicBezTo>
                      <a:pt x="715" y="757"/>
                      <a:pt x="691" y="735"/>
                      <a:pt x="668" y="714"/>
                    </a:cubicBezTo>
                    <a:cubicBezTo>
                      <a:pt x="656" y="703"/>
                      <a:pt x="644" y="693"/>
                      <a:pt x="633" y="682"/>
                    </a:cubicBezTo>
                    <a:cubicBezTo>
                      <a:pt x="621" y="671"/>
                      <a:pt x="609" y="661"/>
                      <a:pt x="598" y="650"/>
                    </a:cubicBezTo>
                    <a:cubicBezTo>
                      <a:pt x="575" y="629"/>
                      <a:pt x="554" y="609"/>
                      <a:pt x="532" y="592"/>
                    </a:cubicBezTo>
                    <a:cubicBezTo>
                      <a:pt x="510" y="574"/>
                      <a:pt x="487" y="559"/>
                      <a:pt x="465" y="549"/>
                    </a:cubicBezTo>
                    <a:cubicBezTo>
                      <a:pt x="442" y="538"/>
                      <a:pt x="419" y="532"/>
                      <a:pt x="397" y="530"/>
                    </a:cubicBezTo>
                    <a:cubicBezTo>
                      <a:pt x="392" y="530"/>
                      <a:pt x="385" y="530"/>
                      <a:pt x="381" y="530"/>
                    </a:cubicBezTo>
                    <a:cubicBezTo>
                      <a:pt x="377" y="530"/>
                      <a:pt x="372" y="531"/>
                      <a:pt x="368" y="532"/>
                    </a:cubicBezTo>
                    <a:cubicBezTo>
                      <a:pt x="360" y="534"/>
                      <a:pt x="351" y="538"/>
                      <a:pt x="344" y="542"/>
                    </a:cubicBezTo>
                    <a:cubicBezTo>
                      <a:pt x="329" y="552"/>
                      <a:pt x="318" y="566"/>
                      <a:pt x="313" y="582"/>
                    </a:cubicBezTo>
                    <a:cubicBezTo>
                      <a:pt x="310" y="589"/>
                      <a:pt x="308" y="597"/>
                      <a:pt x="308" y="605"/>
                    </a:cubicBezTo>
                    <a:cubicBezTo>
                      <a:pt x="308" y="606"/>
                      <a:pt x="308" y="607"/>
                      <a:pt x="308" y="608"/>
                    </a:cubicBezTo>
                    <a:cubicBezTo>
                      <a:pt x="308" y="612"/>
                      <a:pt x="308" y="612"/>
                      <a:pt x="308" y="612"/>
                    </a:cubicBezTo>
                    <a:cubicBezTo>
                      <a:pt x="308" y="615"/>
                      <a:pt x="308" y="618"/>
                      <a:pt x="308" y="620"/>
                    </a:cubicBezTo>
                    <a:cubicBezTo>
                      <a:pt x="308" y="626"/>
                      <a:pt x="308" y="632"/>
                      <a:pt x="308" y="637"/>
                    </a:cubicBezTo>
                    <a:cubicBezTo>
                      <a:pt x="308" y="682"/>
                      <a:pt x="308" y="723"/>
                      <a:pt x="308" y="759"/>
                    </a:cubicBezTo>
                    <a:cubicBezTo>
                      <a:pt x="308" y="777"/>
                      <a:pt x="308" y="794"/>
                      <a:pt x="307" y="809"/>
                    </a:cubicBezTo>
                    <a:cubicBezTo>
                      <a:pt x="307" y="817"/>
                      <a:pt x="307" y="824"/>
                      <a:pt x="307" y="831"/>
                    </a:cubicBezTo>
                    <a:cubicBezTo>
                      <a:pt x="307" y="835"/>
                      <a:pt x="307" y="838"/>
                      <a:pt x="307" y="841"/>
                    </a:cubicBezTo>
                    <a:cubicBezTo>
                      <a:pt x="307" y="848"/>
                      <a:pt x="307" y="854"/>
                      <a:pt x="307" y="860"/>
                    </a:cubicBezTo>
                    <a:cubicBezTo>
                      <a:pt x="308" y="872"/>
                      <a:pt x="305" y="883"/>
                      <a:pt x="300" y="891"/>
                    </a:cubicBezTo>
                    <a:cubicBezTo>
                      <a:pt x="295" y="900"/>
                      <a:pt x="287" y="907"/>
                      <a:pt x="280" y="911"/>
                    </a:cubicBezTo>
                    <a:cubicBezTo>
                      <a:pt x="273" y="915"/>
                      <a:pt x="265" y="917"/>
                      <a:pt x="257" y="918"/>
                    </a:cubicBezTo>
                    <a:cubicBezTo>
                      <a:pt x="249" y="919"/>
                      <a:pt x="242" y="920"/>
                      <a:pt x="235" y="920"/>
                    </a:cubicBezTo>
                    <a:cubicBezTo>
                      <a:pt x="232" y="920"/>
                      <a:pt x="228" y="921"/>
                      <a:pt x="226" y="921"/>
                    </a:cubicBezTo>
                    <a:cubicBezTo>
                      <a:pt x="223" y="921"/>
                      <a:pt x="221" y="921"/>
                      <a:pt x="219" y="921"/>
                    </a:cubicBezTo>
                    <a:cubicBezTo>
                      <a:pt x="216" y="921"/>
                      <a:pt x="215" y="921"/>
                      <a:pt x="215" y="921"/>
                    </a:cubicBezTo>
                    <a:cubicBezTo>
                      <a:pt x="208" y="921"/>
                      <a:pt x="200" y="921"/>
                      <a:pt x="192" y="921"/>
                    </a:cubicBezTo>
                    <a:cubicBezTo>
                      <a:pt x="190" y="921"/>
                      <a:pt x="188" y="921"/>
                      <a:pt x="186" y="921"/>
                    </a:cubicBezTo>
                    <a:cubicBezTo>
                      <a:pt x="183" y="921"/>
                      <a:pt x="181" y="921"/>
                      <a:pt x="178" y="921"/>
                    </a:cubicBezTo>
                    <a:cubicBezTo>
                      <a:pt x="173" y="921"/>
                      <a:pt x="168" y="920"/>
                      <a:pt x="163" y="920"/>
                    </a:cubicBezTo>
                    <a:cubicBezTo>
                      <a:pt x="143" y="917"/>
                      <a:pt x="124" y="911"/>
                      <a:pt x="105" y="902"/>
                    </a:cubicBezTo>
                    <a:cubicBezTo>
                      <a:pt x="87" y="894"/>
                      <a:pt x="69" y="882"/>
                      <a:pt x="53" y="868"/>
                    </a:cubicBezTo>
                    <a:cubicBezTo>
                      <a:pt x="37" y="853"/>
                      <a:pt x="22" y="835"/>
                      <a:pt x="12" y="812"/>
                    </a:cubicBezTo>
                    <a:cubicBezTo>
                      <a:pt x="7" y="801"/>
                      <a:pt x="3" y="788"/>
                      <a:pt x="1" y="775"/>
                    </a:cubicBezTo>
                    <a:cubicBezTo>
                      <a:pt x="1" y="772"/>
                      <a:pt x="0" y="769"/>
                      <a:pt x="0" y="765"/>
                    </a:cubicBezTo>
                    <a:cubicBezTo>
                      <a:pt x="0" y="764"/>
                      <a:pt x="0" y="762"/>
                      <a:pt x="0" y="760"/>
                    </a:cubicBezTo>
                    <a:cubicBezTo>
                      <a:pt x="0" y="756"/>
                      <a:pt x="0" y="756"/>
                      <a:pt x="0" y="756"/>
                    </a:cubicBezTo>
                    <a:cubicBezTo>
                      <a:pt x="0" y="752"/>
                      <a:pt x="0" y="747"/>
                      <a:pt x="0" y="742"/>
                    </a:cubicBezTo>
                    <a:cubicBezTo>
                      <a:pt x="0" y="723"/>
                      <a:pt x="0" y="704"/>
                      <a:pt x="0" y="685"/>
                    </a:cubicBezTo>
                    <a:cubicBezTo>
                      <a:pt x="0" y="647"/>
                      <a:pt x="0" y="609"/>
                      <a:pt x="1" y="570"/>
                    </a:cubicBezTo>
                    <a:cubicBezTo>
                      <a:pt x="1" y="416"/>
                      <a:pt x="2" y="263"/>
                      <a:pt x="2" y="150"/>
                    </a:cubicBezTo>
                    <a:cubicBezTo>
                      <a:pt x="2" y="115"/>
                      <a:pt x="3" y="85"/>
                      <a:pt x="3" y="45"/>
                    </a:cubicBezTo>
                    <a:cubicBezTo>
                      <a:pt x="3" y="13"/>
                      <a:pt x="21" y="0"/>
                      <a:pt x="48" y="0"/>
                    </a:cubicBezTo>
                    <a:cubicBezTo>
                      <a:pt x="76" y="0"/>
                      <a:pt x="144" y="0"/>
                      <a:pt x="191" y="1"/>
                    </a:cubicBezTo>
                    <a:cubicBezTo>
                      <a:pt x="202" y="1"/>
                      <a:pt x="213" y="1"/>
                      <a:pt x="223" y="1"/>
                    </a:cubicBezTo>
                    <a:cubicBezTo>
                      <a:pt x="236" y="1"/>
                      <a:pt x="248" y="2"/>
                      <a:pt x="260" y="5"/>
                    </a:cubicBezTo>
                    <a:cubicBezTo>
                      <a:pt x="284" y="9"/>
                      <a:pt x="307" y="16"/>
                      <a:pt x="328" y="27"/>
                    </a:cubicBezTo>
                    <a:cubicBezTo>
                      <a:pt x="350" y="38"/>
                      <a:pt x="370" y="51"/>
                      <a:pt x="388" y="67"/>
                    </a:cubicBezTo>
                    <a:cubicBezTo>
                      <a:pt x="391" y="70"/>
                      <a:pt x="391" y="70"/>
                      <a:pt x="391" y="70"/>
                    </a:cubicBezTo>
                    <a:cubicBezTo>
                      <a:pt x="394" y="73"/>
                      <a:pt x="394" y="73"/>
                      <a:pt x="394" y="73"/>
                    </a:cubicBezTo>
                    <a:cubicBezTo>
                      <a:pt x="399" y="78"/>
                      <a:pt x="399" y="78"/>
                      <a:pt x="399" y="78"/>
                    </a:cubicBezTo>
                    <a:cubicBezTo>
                      <a:pt x="411" y="89"/>
                      <a:pt x="411" y="89"/>
                      <a:pt x="411" y="89"/>
                    </a:cubicBezTo>
                    <a:cubicBezTo>
                      <a:pt x="418" y="96"/>
                      <a:pt x="426" y="103"/>
                      <a:pt x="433" y="110"/>
                    </a:cubicBezTo>
                    <a:cubicBezTo>
                      <a:pt x="463" y="139"/>
                      <a:pt x="492" y="167"/>
                      <a:pt x="522" y="194"/>
                    </a:cubicBezTo>
                    <a:cubicBezTo>
                      <a:pt x="550" y="222"/>
                      <a:pt x="579" y="249"/>
                      <a:pt x="608" y="276"/>
                    </a:cubicBezTo>
                    <a:cubicBezTo>
                      <a:pt x="635" y="301"/>
                      <a:pt x="665" y="322"/>
                      <a:pt x="698" y="339"/>
                    </a:cubicBezTo>
                    <a:cubicBezTo>
                      <a:pt x="762" y="373"/>
                      <a:pt x="832" y="391"/>
                      <a:pt x="902" y="394"/>
                    </a:cubicBezTo>
                    <a:cubicBezTo>
                      <a:pt x="972" y="398"/>
                      <a:pt x="1040" y="387"/>
                      <a:pt x="1101" y="365"/>
                    </a:cubicBezTo>
                    <a:cubicBezTo>
                      <a:pt x="1132" y="353"/>
                      <a:pt x="1161" y="339"/>
                      <a:pt x="1188" y="322"/>
                    </a:cubicBezTo>
                    <a:cubicBezTo>
                      <a:pt x="1201" y="314"/>
                      <a:pt x="1214" y="305"/>
                      <a:pt x="1226" y="295"/>
                    </a:cubicBezTo>
                    <a:cubicBezTo>
                      <a:pt x="1232" y="290"/>
                      <a:pt x="1238" y="285"/>
                      <a:pt x="1244" y="280"/>
                    </a:cubicBezTo>
                    <a:cubicBezTo>
                      <a:pt x="1247" y="278"/>
                      <a:pt x="1249" y="275"/>
                      <a:pt x="1252" y="273"/>
                    </a:cubicBezTo>
                    <a:cubicBezTo>
                      <a:pt x="1255" y="270"/>
                      <a:pt x="1258" y="267"/>
                      <a:pt x="1261" y="265"/>
                    </a:cubicBezTo>
                    <a:cubicBezTo>
                      <a:pt x="1357" y="177"/>
                      <a:pt x="1519" y="28"/>
                      <a:pt x="1523" y="24"/>
                    </a:cubicBezTo>
                    <a:cubicBezTo>
                      <a:pt x="1528" y="20"/>
                      <a:pt x="1538" y="15"/>
                      <a:pt x="1548" y="15"/>
                    </a:cubicBezTo>
                    <a:cubicBezTo>
                      <a:pt x="1558" y="15"/>
                      <a:pt x="1656" y="16"/>
                      <a:pt x="1697" y="17"/>
                    </a:cubicBezTo>
                    <a:cubicBezTo>
                      <a:pt x="1714" y="17"/>
                      <a:pt x="1731" y="20"/>
                      <a:pt x="1746" y="26"/>
                    </a:cubicBezTo>
                    <a:cubicBezTo>
                      <a:pt x="1760" y="31"/>
                      <a:pt x="1773" y="39"/>
                      <a:pt x="1784" y="48"/>
                    </a:cubicBezTo>
                    <a:cubicBezTo>
                      <a:pt x="1805" y="65"/>
                      <a:pt x="1818" y="86"/>
                      <a:pt x="1825" y="103"/>
                    </a:cubicBezTo>
                    <a:cubicBezTo>
                      <a:pt x="1832" y="121"/>
                      <a:pt x="1834" y="135"/>
                      <a:pt x="1835" y="145"/>
                    </a:cubicBezTo>
                    <a:cubicBezTo>
                      <a:pt x="1835" y="152"/>
                      <a:pt x="1834" y="853"/>
                      <a:pt x="1834" y="859"/>
                    </a:cubicBezTo>
                    <a:close/>
                    <a:moveTo>
                      <a:pt x="1671" y="53"/>
                    </a:moveTo>
                    <a:cubicBezTo>
                      <a:pt x="1669" y="53"/>
                      <a:pt x="1558" y="55"/>
                      <a:pt x="1556" y="55"/>
                    </a:cubicBezTo>
                    <a:cubicBezTo>
                      <a:pt x="1553" y="55"/>
                      <a:pt x="1549" y="56"/>
                      <a:pt x="1545" y="59"/>
                    </a:cubicBezTo>
                    <a:cubicBezTo>
                      <a:pt x="1542" y="62"/>
                      <a:pt x="1470" y="132"/>
                      <a:pt x="1426" y="175"/>
                    </a:cubicBezTo>
                    <a:cubicBezTo>
                      <a:pt x="1403" y="197"/>
                      <a:pt x="1380" y="221"/>
                      <a:pt x="1355" y="244"/>
                    </a:cubicBezTo>
                    <a:cubicBezTo>
                      <a:pt x="1331" y="268"/>
                      <a:pt x="1307" y="292"/>
                      <a:pt x="1282" y="317"/>
                    </a:cubicBezTo>
                    <a:cubicBezTo>
                      <a:pt x="1266" y="332"/>
                      <a:pt x="1246" y="348"/>
                      <a:pt x="1225" y="364"/>
                    </a:cubicBezTo>
                    <a:cubicBezTo>
                      <a:pt x="1203" y="379"/>
                      <a:pt x="1179" y="393"/>
                      <a:pt x="1153" y="406"/>
                    </a:cubicBezTo>
                    <a:cubicBezTo>
                      <a:pt x="1127" y="418"/>
                      <a:pt x="1100" y="428"/>
                      <a:pt x="1072" y="436"/>
                    </a:cubicBezTo>
                    <a:cubicBezTo>
                      <a:pt x="1044" y="444"/>
                      <a:pt x="1016" y="450"/>
                      <a:pt x="990" y="453"/>
                    </a:cubicBezTo>
                    <a:cubicBezTo>
                      <a:pt x="936" y="460"/>
                      <a:pt x="888" y="459"/>
                      <a:pt x="853" y="455"/>
                    </a:cubicBezTo>
                    <a:cubicBezTo>
                      <a:pt x="835" y="453"/>
                      <a:pt x="821" y="450"/>
                      <a:pt x="812" y="449"/>
                    </a:cubicBezTo>
                    <a:cubicBezTo>
                      <a:pt x="807" y="448"/>
                      <a:pt x="803" y="447"/>
                      <a:pt x="800" y="446"/>
                    </a:cubicBezTo>
                    <a:cubicBezTo>
                      <a:pt x="798" y="446"/>
                      <a:pt x="796" y="445"/>
                      <a:pt x="796" y="445"/>
                    </a:cubicBezTo>
                    <a:cubicBezTo>
                      <a:pt x="747" y="435"/>
                      <a:pt x="688" y="415"/>
                      <a:pt x="632" y="380"/>
                    </a:cubicBezTo>
                    <a:cubicBezTo>
                      <a:pt x="604" y="363"/>
                      <a:pt x="576" y="342"/>
                      <a:pt x="550" y="318"/>
                    </a:cubicBezTo>
                    <a:cubicBezTo>
                      <a:pt x="547" y="315"/>
                      <a:pt x="544" y="312"/>
                      <a:pt x="540" y="309"/>
                    </a:cubicBezTo>
                    <a:cubicBezTo>
                      <a:pt x="539" y="308"/>
                      <a:pt x="539" y="308"/>
                      <a:pt x="539" y="308"/>
                    </a:cubicBezTo>
                    <a:cubicBezTo>
                      <a:pt x="539" y="307"/>
                      <a:pt x="539" y="307"/>
                      <a:pt x="539" y="307"/>
                    </a:cubicBezTo>
                    <a:cubicBezTo>
                      <a:pt x="537" y="305"/>
                      <a:pt x="537" y="305"/>
                      <a:pt x="537" y="305"/>
                    </a:cubicBezTo>
                    <a:cubicBezTo>
                      <a:pt x="532" y="301"/>
                      <a:pt x="532" y="301"/>
                      <a:pt x="532" y="301"/>
                    </a:cubicBezTo>
                    <a:cubicBezTo>
                      <a:pt x="526" y="295"/>
                      <a:pt x="520" y="290"/>
                      <a:pt x="514" y="284"/>
                    </a:cubicBezTo>
                    <a:cubicBezTo>
                      <a:pt x="502" y="273"/>
                      <a:pt x="490" y="261"/>
                      <a:pt x="477" y="250"/>
                    </a:cubicBezTo>
                    <a:cubicBezTo>
                      <a:pt x="453" y="227"/>
                      <a:pt x="428" y="204"/>
                      <a:pt x="404" y="181"/>
                    </a:cubicBezTo>
                    <a:cubicBezTo>
                      <a:pt x="392" y="170"/>
                      <a:pt x="380" y="159"/>
                      <a:pt x="368" y="148"/>
                    </a:cubicBezTo>
                    <a:cubicBezTo>
                      <a:pt x="362" y="142"/>
                      <a:pt x="356" y="136"/>
                      <a:pt x="350" y="131"/>
                    </a:cubicBezTo>
                    <a:cubicBezTo>
                      <a:pt x="347" y="128"/>
                      <a:pt x="344" y="125"/>
                      <a:pt x="341" y="123"/>
                    </a:cubicBezTo>
                    <a:cubicBezTo>
                      <a:pt x="339" y="121"/>
                      <a:pt x="336" y="118"/>
                      <a:pt x="334" y="116"/>
                    </a:cubicBezTo>
                    <a:cubicBezTo>
                      <a:pt x="313" y="99"/>
                      <a:pt x="290" y="88"/>
                      <a:pt x="266" y="81"/>
                    </a:cubicBezTo>
                    <a:cubicBezTo>
                      <a:pt x="254" y="78"/>
                      <a:pt x="242" y="76"/>
                      <a:pt x="231" y="75"/>
                    </a:cubicBezTo>
                    <a:cubicBezTo>
                      <a:pt x="225" y="74"/>
                      <a:pt x="220" y="74"/>
                      <a:pt x="212" y="74"/>
                    </a:cubicBezTo>
                    <a:cubicBezTo>
                      <a:pt x="206" y="74"/>
                      <a:pt x="199" y="74"/>
                      <a:pt x="192" y="74"/>
                    </a:cubicBezTo>
                    <a:cubicBezTo>
                      <a:pt x="155" y="74"/>
                      <a:pt x="80" y="74"/>
                      <a:pt x="79" y="74"/>
                    </a:cubicBezTo>
                    <a:cubicBezTo>
                      <a:pt x="78" y="74"/>
                      <a:pt x="77" y="74"/>
                      <a:pt x="77" y="76"/>
                    </a:cubicBezTo>
                    <a:cubicBezTo>
                      <a:pt x="77" y="78"/>
                      <a:pt x="77" y="402"/>
                      <a:pt x="77" y="568"/>
                    </a:cubicBezTo>
                    <a:cubicBezTo>
                      <a:pt x="76" y="611"/>
                      <a:pt x="76" y="654"/>
                      <a:pt x="76" y="698"/>
                    </a:cubicBezTo>
                    <a:cubicBezTo>
                      <a:pt x="76" y="719"/>
                      <a:pt x="76" y="740"/>
                      <a:pt x="76" y="761"/>
                    </a:cubicBezTo>
                    <a:cubicBezTo>
                      <a:pt x="77" y="773"/>
                      <a:pt x="82" y="786"/>
                      <a:pt x="92" y="798"/>
                    </a:cubicBezTo>
                    <a:cubicBezTo>
                      <a:pt x="111" y="823"/>
                      <a:pt x="145" y="841"/>
                      <a:pt x="177" y="844"/>
                    </a:cubicBezTo>
                    <a:cubicBezTo>
                      <a:pt x="179" y="845"/>
                      <a:pt x="181" y="845"/>
                      <a:pt x="183" y="845"/>
                    </a:cubicBezTo>
                    <a:cubicBezTo>
                      <a:pt x="184" y="845"/>
                      <a:pt x="185" y="845"/>
                      <a:pt x="186" y="845"/>
                    </a:cubicBezTo>
                    <a:cubicBezTo>
                      <a:pt x="190" y="845"/>
                      <a:pt x="190" y="845"/>
                      <a:pt x="190" y="845"/>
                    </a:cubicBezTo>
                    <a:cubicBezTo>
                      <a:pt x="206" y="845"/>
                      <a:pt x="206" y="845"/>
                      <a:pt x="206" y="845"/>
                    </a:cubicBezTo>
                    <a:cubicBezTo>
                      <a:pt x="211" y="845"/>
                      <a:pt x="216" y="845"/>
                      <a:pt x="221" y="845"/>
                    </a:cubicBezTo>
                    <a:cubicBezTo>
                      <a:pt x="228" y="844"/>
                      <a:pt x="228" y="844"/>
                      <a:pt x="228" y="844"/>
                    </a:cubicBezTo>
                    <a:cubicBezTo>
                      <a:pt x="230" y="844"/>
                      <a:pt x="229" y="844"/>
                      <a:pt x="230" y="844"/>
                    </a:cubicBezTo>
                    <a:cubicBezTo>
                      <a:pt x="230" y="844"/>
                      <a:pt x="230" y="844"/>
                      <a:pt x="230" y="844"/>
                    </a:cubicBezTo>
                    <a:cubicBezTo>
                      <a:pt x="230" y="844"/>
                      <a:pt x="231" y="844"/>
                      <a:pt x="231" y="844"/>
                    </a:cubicBezTo>
                    <a:cubicBezTo>
                      <a:pt x="231" y="844"/>
                      <a:pt x="231" y="843"/>
                      <a:pt x="231" y="843"/>
                    </a:cubicBezTo>
                    <a:cubicBezTo>
                      <a:pt x="231" y="843"/>
                      <a:pt x="231" y="843"/>
                      <a:pt x="231" y="843"/>
                    </a:cubicBezTo>
                    <a:cubicBezTo>
                      <a:pt x="231" y="843"/>
                      <a:pt x="231" y="843"/>
                      <a:pt x="231" y="843"/>
                    </a:cubicBezTo>
                    <a:cubicBezTo>
                      <a:pt x="231" y="842"/>
                      <a:pt x="231" y="842"/>
                      <a:pt x="231" y="842"/>
                    </a:cubicBezTo>
                    <a:cubicBezTo>
                      <a:pt x="231" y="838"/>
                      <a:pt x="231" y="838"/>
                      <a:pt x="231" y="838"/>
                    </a:cubicBezTo>
                    <a:cubicBezTo>
                      <a:pt x="231" y="794"/>
                      <a:pt x="232" y="751"/>
                      <a:pt x="232" y="708"/>
                    </a:cubicBezTo>
                    <a:cubicBezTo>
                      <a:pt x="232" y="686"/>
                      <a:pt x="232" y="664"/>
                      <a:pt x="232" y="643"/>
                    </a:cubicBezTo>
                    <a:cubicBezTo>
                      <a:pt x="232" y="610"/>
                      <a:pt x="232" y="610"/>
                      <a:pt x="232" y="610"/>
                    </a:cubicBezTo>
                    <a:cubicBezTo>
                      <a:pt x="232" y="605"/>
                      <a:pt x="232" y="605"/>
                      <a:pt x="232" y="605"/>
                    </a:cubicBezTo>
                    <a:cubicBezTo>
                      <a:pt x="232" y="604"/>
                      <a:pt x="232" y="602"/>
                      <a:pt x="232" y="600"/>
                    </a:cubicBezTo>
                    <a:cubicBezTo>
                      <a:pt x="232" y="596"/>
                      <a:pt x="233" y="593"/>
                      <a:pt x="233" y="589"/>
                    </a:cubicBezTo>
                    <a:cubicBezTo>
                      <a:pt x="234" y="582"/>
                      <a:pt x="236" y="575"/>
                      <a:pt x="238" y="569"/>
                    </a:cubicBezTo>
                    <a:cubicBezTo>
                      <a:pt x="245" y="541"/>
                      <a:pt x="260" y="516"/>
                      <a:pt x="280" y="497"/>
                    </a:cubicBezTo>
                    <a:cubicBezTo>
                      <a:pt x="301" y="478"/>
                      <a:pt x="327" y="464"/>
                      <a:pt x="354" y="458"/>
                    </a:cubicBezTo>
                    <a:cubicBezTo>
                      <a:pt x="361" y="456"/>
                      <a:pt x="368" y="456"/>
                      <a:pt x="375" y="455"/>
                    </a:cubicBezTo>
                    <a:cubicBezTo>
                      <a:pt x="379" y="455"/>
                      <a:pt x="383" y="455"/>
                      <a:pt x="386" y="455"/>
                    </a:cubicBezTo>
                    <a:cubicBezTo>
                      <a:pt x="389" y="455"/>
                      <a:pt x="392" y="455"/>
                      <a:pt x="395" y="455"/>
                    </a:cubicBezTo>
                    <a:cubicBezTo>
                      <a:pt x="408" y="456"/>
                      <a:pt x="421" y="457"/>
                      <a:pt x="433" y="460"/>
                    </a:cubicBezTo>
                    <a:cubicBezTo>
                      <a:pt x="457" y="464"/>
                      <a:pt x="481" y="473"/>
                      <a:pt x="502" y="484"/>
                    </a:cubicBezTo>
                    <a:cubicBezTo>
                      <a:pt x="524" y="495"/>
                      <a:pt x="544" y="507"/>
                      <a:pt x="562" y="521"/>
                    </a:cubicBezTo>
                    <a:cubicBezTo>
                      <a:pt x="580" y="535"/>
                      <a:pt x="597" y="549"/>
                      <a:pt x="614" y="564"/>
                    </a:cubicBezTo>
                    <a:cubicBezTo>
                      <a:pt x="630" y="579"/>
                      <a:pt x="645" y="594"/>
                      <a:pt x="661" y="608"/>
                    </a:cubicBezTo>
                    <a:cubicBezTo>
                      <a:pt x="668" y="615"/>
                      <a:pt x="676" y="622"/>
                      <a:pt x="683" y="629"/>
                    </a:cubicBezTo>
                    <a:cubicBezTo>
                      <a:pt x="691" y="636"/>
                      <a:pt x="699" y="643"/>
                      <a:pt x="707" y="650"/>
                    </a:cubicBezTo>
                    <a:cubicBezTo>
                      <a:pt x="739" y="679"/>
                      <a:pt x="769" y="708"/>
                      <a:pt x="800" y="733"/>
                    </a:cubicBezTo>
                    <a:cubicBezTo>
                      <a:pt x="830" y="758"/>
                      <a:pt x="862" y="779"/>
                      <a:pt x="894" y="787"/>
                    </a:cubicBezTo>
                    <a:cubicBezTo>
                      <a:pt x="916" y="793"/>
                      <a:pt x="939" y="793"/>
                      <a:pt x="964" y="785"/>
                    </a:cubicBezTo>
                    <a:cubicBezTo>
                      <a:pt x="988" y="776"/>
                      <a:pt x="1014" y="761"/>
                      <a:pt x="1039" y="741"/>
                    </a:cubicBezTo>
                    <a:cubicBezTo>
                      <a:pt x="1064" y="722"/>
                      <a:pt x="1089" y="699"/>
                      <a:pt x="1115" y="676"/>
                    </a:cubicBezTo>
                    <a:cubicBezTo>
                      <a:pt x="1128" y="664"/>
                      <a:pt x="1142" y="652"/>
                      <a:pt x="1155" y="641"/>
                    </a:cubicBezTo>
                    <a:cubicBezTo>
                      <a:pt x="1165" y="632"/>
                      <a:pt x="1165" y="632"/>
                      <a:pt x="1165" y="632"/>
                    </a:cubicBezTo>
                    <a:cubicBezTo>
                      <a:pt x="1174" y="623"/>
                      <a:pt x="1174" y="623"/>
                      <a:pt x="1174" y="623"/>
                    </a:cubicBezTo>
                    <a:cubicBezTo>
                      <a:pt x="1181" y="617"/>
                      <a:pt x="1187" y="612"/>
                      <a:pt x="1194" y="606"/>
                    </a:cubicBezTo>
                    <a:cubicBezTo>
                      <a:pt x="1219" y="582"/>
                      <a:pt x="1246" y="557"/>
                      <a:pt x="1274" y="535"/>
                    </a:cubicBezTo>
                    <a:cubicBezTo>
                      <a:pt x="1302" y="513"/>
                      <a:pt x="1333" y="493"/>
                      <a:pt x="1367" y="480"/>
                    </a:cubicBezTo>
                    <a:cubicBezTo>
                      <a:pt x="1383" y="473"/>
                      <a:pt x="1401" y="468"/>
                      <a:pt x="1418" y="465"/>
                    </a:cubicBezTo>
                    <a:cubicBezTo>
                      <a:pt x="1426" y="464"/>
                      <a:pt x="1435" y="463"/>
                      <a:pt x="1444" y="462"/>
                    </a:cubicBezTo>
                    <a:cubicBezTo>
                      <a:pt x="1452" y="462"/>
                      <a:pt x="1460" y="461"/>
                      <a:pt x="1470" y="462"/>
                    </a:cubicBezTo>
                    <a:cubicBezTo>
                      <a:pt x="1488" y="463"/>
                      <a:pt x="1505" y="468"/>
                      <a:pt x="1521" y="475"/>
                    </a:cubicBezTo>
                    <a:cubicBezTo>
                      <a:pt x="1536" y="482"/>
                      <a:pt x="1549" y="492"/>
                      <a:pt x="1560" y="503"/>
                    </a:cubicBezTo>
                    <a:cubicBezTo>
                      <a:pt x="1584" y="525"/>
                      <a:pt x="1600" y="556"/>
                      <a:pt x="1604" y="589"/>
                    </a:cubicBezTo>
                    <a:cubicBezTo>
                      <a:pt x="1605" y="593"/>
                      <a:pt x="1605" y="597"/>
                      <a:pt x="1605" y="601"/>
                    </a:cubicBezTo>
                    <a:cubicBezTo>
                      <a:pt x="1605" y="603"/>
                      <a:pt x="1606" y="605"/>
                      <a:pt x="1606" y="607"/>
                    </a:cubicBezTo>
                    <a:cubicBezTo>
                      <a:pt x="1606" y="612"/>
                      <a:pt x="1606" y="612"/>
                      <a:pt x="1606" y="612"/>
                    </a:cubicBezTo>
                    <a:cubicBezTo>
                      <a:pt x="1605" y="619"/>
                      <a:pt x="1605" y="625"/>
                      <a:pt x="1605" y="632"/>
                    </a:cubicBezTo>
                    <a:cubicBezTo>
                      <a:pt x="1605" y="645"/>
                      <a:pt x="1605" y="658"/>
                      <a:pt x="1605" y="670"/>
                    </a:cubicBezTo>
                    <a:cubicBezTo>
                      <a:pt x="1605" y="696"/>
                      <a:pt x="1605" y="722"/>
                      <a:pt x="1605" y="747"/>
                    </a:cubicBezTo>
                    <a:cubicBezTo>
                      <a:pt x="1605" y="756"/>
                      <a:pt x="1605" y="756"/>
                      <a:pt x="1605" y="756"/>
                    </a:cubicBezTo>
                    <a:cubicBezTo>
                      <a:pt x="1605" y="760"/>
                      <a:pt x="1605" y="760"/>
                      <a:pt x="1605" y="760"/>
                    </a:cubicBezTo>
                    <a:cubicBezTo>
                      <a:pt x="1605" y="761"/>
                      <a:pt x="1605" y="762"/>
                      <a:pt x="1605" y="763"/>
                    </a:cubicBezTo>
                    <a:cubicBezTo>
                      <a:pt x="1605" y="768"/>
                      <a:pt x="1606" y="772"/>
                      <a:pt x="1607" y="776"/>
                    </a:cubicBezTo>
                    <a:cubicBezTo>
                      <a:pt x="1610" y="785"/>
                      <a:pt x="1614" y="793"/>
                      <a:pt x="1620" y="801"/>
                    </a:cubicBezTo>
                    <a:cubicBezTo>
                      <a:pt x="1631" y="817"/>
                      <a:pt x="1648" y="830"/>
                      <a:pt x="1666" y="840"/>
                    </a:cubicBezTo>
                    <a:cubicBezTo>
                      <a:pt x="1685" y="850"/>
                      <a:pt x="1705" y="856"/>
                      <a:pt x="1724" y="857"/>
                    </a:cubicBezTo>
                    <a:cubicBezTo>
                      <a:pt x="1725" y="857"/>
                      <a:pt x="1726" y="857"/>
                      <a:pt x="1727" y="857"/>
                    </a:cubicBezTo>
                    <a:cubicBezTo>
                      <a:pt x="1731" y="857"/>
                      <a:pt x="1731" y="857"/>
                      <a:pt x="1731" y="857"/>
                    </a:cubicBezTo>
                    <a:cubicBezTo>
                      <a:pt x="1740" y="857"/>
                      <a:pt x="1740" y="857"/>
                      <a:pt x="1740" y="857"/>
                    </a:cubicBezTo>
                    <a:cubicBezTo>
                      <a:pt x="1745" y="857"/>
                      <a:pt x="1751" y="857"/>
                      <a:pt x="1757" y="857"/>
                    </a:cubicBezTo>
                    <a:cubicBezTo>
                      <a:pt x="1765" y="857"/>
                      <a:pt x="1765" y="857"/>
                      <a:pt x="1765" y="857"/>
                    </a:cubicBezTo>
                    <a:cubicBezTo>
                      <a:pt x="1771" y="856"/>
                      <a:pt x="1771" y="856"/>
                      <a:pt x="1771" y="856"/>
                    </a:cubicBezTo>
                    <a:cubicBezTo>
                      <a:pt x="1773" y="856"/>
                      <a:pt x="1775" y="856"/>
                      <a:pt x="1777" y="856"/>
                    </a:cubicBezTo>
                    <a:cubicBezTo>
                      <a:pt x="1778" y="856"/>
                      <a:pt x="1779" y="856"/>
                      <a:pt x="1780" y="855"/>
                    </a:cubicBezTo>
                    <a:cubicBezTo>
                      <a:pt x="1781" y="855"/>
                      <a:pt x="1782" y="854"/>
                      <a:pt x="1783" y="853"/>
                    </a:cubicBezTo>
                    <a:cubicBezTo>
                      <a:pt x="1784" y="851"/>
                      <a:pt x="1784" y="849"/>
                      <a:pt x="1784" y="847"/>
                    </a:cubicBezTo>
                    <a:cubicBezTo>
                      <a:pt x="1784" y="844"/>
                      <a:pt x="1784" y="844"/>
                      <a:pt x="1784" y="844"/>
                    </a:cubicBezTo>
                    <a:cubicBezTo>
                      <a:pt x="1784" y="838"/>
                      <a:pt x="1784" y="838"/>
                      <a:pt x="1784" y="838"/>
                    </a:cubicBezTo>
                    <a:cubicBezTo>
                      <a:pt x="1784" y="832"/>
                      <a:pt x="1784" y="827"/>
                      <a:pt x="1784" y="821"/>
                    </a:cubicBezTo>
                    <a:cubicBezTo>
                      <a:pt x="1785" y="643"/>
                      <a:pt x="1782" y="182"/>
                      <a:pt x="1783" y="173"/>
                    </a:cubicBezTo>
                    <a:cubicBezTo>
                      <a:pt x="1783" y="164"/>
                      <a:pt x="1784" y="155"/>
                      <a:pt x="1782" y="148"/>
                    </a:cubicBezTo>
                    <a:cubicBezTo>
                      <a:pt x="1781" y="140"/>
                      <a:pt x="1778" y="129"/>
                      <a:pt x="1772" y="115"/>
                    </a:cubicBezTo>
                    <a:cubicBezTo>
                      <a:pt x="1766" y="102"/>
                      <a:pt x="1755" y="87"/>
                      <a:pt x="1738" y="74"/>
                    </a:cubicBezTo>
                    <a:cubicBezTo>
                      <a:pt x="1721" y="62"/>
                      <a:pt x="1698" y="53"/>
                      <a:pt x="1671" y="53"/>
                    </a:cubicBezTo>
                    <a:close/>
                    <a:moveTo>
                      <a:pt x="1823" y="846"/>
                    </a:moveTo>
                    <a:cubicBezTo>
                      <a:pt x="1822" y="821"/>
                      <a:pt x="1821" y="797"/>
                      <a:pt x="1820" y="770"/>
                    </a:cubicBezTo>
                    <a:cubicBezTo>
                      <a:pt x="1817" y="681"/>
                      <a:pt x="1814" y="523"/>
                      <a:pt x="1811" y="454"/>
                    </a:cubicBezTo>
                    <a:cubicBezTo>
                      <a:pt x="1809" y="416"/>
                      <a:pt x="1808" y="395"/>
                      <a:pt x="1806" y="431"/>
                    </a:cubicBezTo>
                    <a:cubicBezTo>
                      <a:pt x="1806" y="444"/>
                      <a:pt x="1805" y="453"/>
                      <a:pt x="1805" y="467"/>
                    </a:cubicBezTo>
                    <a:cubicBezTo>
                      <a:pt x="1802" y="506"/>
                      <a:pt x="1801" y="607"/>
                      <a:pt x="1799" y="659"/>
                    </a:cubicBezTo>
                    <a:cubicBezTo>
                      <a:pt x="1799" y="662"/>
                      <a:pt x="1799" y="664"/>
                      <a:pt x="1799" y="667"/>
                    </a:cubicBezTo>
                    <a:cubicBezTo>
                      <a:pt x="1798" y="691"/>
                      <a:pt x="1797" y="715"/>
                      <a:pt x="1796" y="742"/>
                    </a:cubicBezTo>
                    <a:cubicBezTo>
                      <a:pt x="1796" y="747"/>
                      <a:pt x="1796" y="752"/>
                      <a:pt x="1796" y="757"/>
                    </a:cubicBezTo>
                    <a:cubicBezTo>
                      <a:pt x="1796" y="774"/>
                      <a:pt x="1795" y="792"/>
                      <a:pt x="1795" y="810"/>
                    </a:cubicBezTo>
                    <a:cubicBezTo>
                      <a:pt x="1795" y="819"/>
                      <a:pt x="1794" y="829"/>
                      <a:pt x="1794" y="838"/>
                    </a:cubicBezTo>
                    <a:cubicBezTo>
                      <a:pt x="1794" y="840"/>
                      <a:pt x="1794" y="842"/>
                      <a:pt x="1794" y="844"/>
                    </a:cubicBezTo>
                    <a:cubicBezTo>
                      <a:pt x="1794" y="846"/>
                      <a:pt x="1794" y="847"/>
                      <a:pt x="1794" y="849"/>
                    </a:cubicBezTo>
                    <a:cubicBezTo>
                      <a:pt x="1794" y="852"/>
                      <a:pt x="1794" y="855"/>
                      <a:pt x="1793" y="858"/>
                    </a:cubicBezTo>
                    <a:cubicBezTo>
                      <a:pt x="1792" y="860"/>
                      <a:pt x="1791" y="862"/>
                      <a:pt x="1789" y="864"/>
                    </a:cubicBezTo>
                    <a:cubicBezTo>
                      <a:pt x="1787" y="865"/>
                      <a:pt x="1784" y="865"/>
                      <a:pt x="1782" y="865"/>
                    </a:cubicBezTo>
                    <a:cubicBezTo>
                      <a:pt x="1780" y="865"/>
                      <a:pt x="1777" y="866"/>
                      <a:pt x="1775" y="866"/>
                    </a:cubicBezTo>
                    <a:cubicBezTo>
                      <a:pt x="1772" y="866"/>
                      <a:pt x="1769" y="866"/>
                      <a:pt x="1766" y="866"/>
                    </a:cubicBezTo>
                    <a:cubicBezTo>
                      <a:pt x="1758" y="866"/>
                      <a:pt x="1750" y="866"/>
                      <a:pt x="1741" y="866"/>
                    </a:cubicBezTo>
                    <a:cubicBezTo>
                      <a:pt x="1737" y="866"/>
                      <a:pt x="1733" y="866"/>
                      <a:pt x="1729" y="866"/>
                    </a:cubicBezTo>
                    <a:cubicBezTo>
                      <a:pt x="1725" y="866"/>
                      <a:pt x="1721" y="865"/>
                      <a:pt x="1717" y="865"/>
                    </a:cubicBezTo>
                    <a:cubicBezTo>
                      <a:pt x="1702" y="863"/>
                      <a:pt x="1686" y="858"/>
                      <a:pt x="1670" y="851"/>
                    </a:cubicBezTo>
                    <a:cubicBezTo>
                      <a:pt x="1655" y="843"/>
                      <a:pt x="1640" y="833"/>
                      <a:pt x="1627" y="820"/>
                    </a:cubicBezTo>
                    <a:cubicBezTo>
                      <a:pt x="1614" y="807"/>
                      <a:pt x="1604" y="791"/>
                      <a:pt x="1600" y="774"/>
                    </a:cubicBezTo>
                    <a:cubicBezTo>
                      <a:pt x="1599" y="770"/>
                      <a:pt x="1599" y="765"/>
                      <a:pt x="1599" y="761"/>
                    </a:cubicBezTo>
                    <a:cubicBezTo>
                      <a:pt x="1599" y="760"/>
                      <a:pt x="1599" y="759"/>
                      <a:pt x="1599" y="758"/>
                    </a:cubicBezTo>
                    <a:cubicBezTo>
                      <a:pt x="1599" y="753"/>
                      <a:pt x="1599" y="753"/>
                      <a:pt x="1599" y="753"/>
                    </a:cubicBezTo>
                    <a:cubicBezTo>
                      <a:pt x="1599" y="750"/>
                      <a:pt x="1599" y="747"/>
                      <a:pt x="1599" y="744"/>
                    </a:cubicBezTo>
                    <a:cubicBezTo>
                      <a:pt x="1599" y="733"/>
                      <a:pt x="1599" y="721"/>
                      <a:pt x="1600" y="708"/>
                    </a:cubicBezTo>
                    <a:cubicBezTo>
                      <a:pt x="1600" y="684"/>
                      <a:pt x="1600" y="659"/>
                      <a:pt x="1601" y="633"/>
                    </a:cubicBezTo>
                    <a:cubicBezTo>
                      <a:pt x="1601" y="627"/>
                      <a:pt x="1601" y="620"/>
                      <a:pt x="1601" y="614"/>
                    </a:cubicBezTo>
                    <a:cubicBezTo>
                      <a:pt x="1601" y="609"/>
                      <a:pt x="1601" y="609"/>
                      <a:pt x="1601" y="609"/>
                    </a:cubicBezTo>
                    <a:cubicBezTo>
                      <a:pt x="1601" y="607"/>
                      <a:pt x="1601" y="605"/>
                      <a:pt x="1601" y="603"/>
                    </a:cubicBezTo>
                    <a:cubicBezTo>
                      <a:pt x="1601" y="599"/>
                      <a:pt x="1601" y="595"/>
                      <a:pt x="1600" y="591"/>
                    </a:cubicBezTo>
                    <a:cubicBezTo>
                      <a:pt x="1598" y="575"/>
                      <a:pt x="1594" y="560"/>
                      <a:pt x="1587" y="545"/>
                    </a:cubicBezTo>
                    <a:cubicBezTo>
                      <a:pt x="1576" y="523"/>
                      <a:pt x="1558" y="503"/>
                      <a:pt x="1536" y="488"/>
                    </a:cubicBezTo>
                    <a:cubicBezTo>
                      <a:pt x="1525" y="481"/>
                      <a:pt x="1513" y="475"/>
                      <a:pt x="1500" y="471"/>
                    </a:cubicBezTo>
                    <a:cubicBezTo>
                      <a:pt x="1487" y="467"/>
                      <a:pt x="1473" y="465"/>
                      <a:pt x="1460" y="465"/>
                    </a:cubicBezTo>
                    <a:cubicBezTo>
                      <a:pt x="1434" y="465"/>
                      <a:pt x="1408" y="469"/>
                      <a:pt x="1383" y="477"/>
                    </a:cubicBezTo>
                    <a:cubicBezTo>
                      <a:pt x="1357" y="485"/>
                      <a:pt x="1334" y="498"/>
                      <a:pt x="1311" y="512"/>
                    </a:cubicBezTo>
                    <a:cubicBezTo>
                      <a:pt x="1266" y="541"/>
                      <a:pt x="1227" y="578"/>
                      <a:pt x="1188" y="614"/>
                    </a:cubicBezTo>
                    <a:cubicBezTo>
                      <a:pt x="1178" y="623"/>
                      <a:pt x="1168" y="632"/>
                      <a:pt x="1158" y="641"/>
                    </a:cubicBezTo>
                    <a:cubicBezTo>
                      <a:pt x="1148" y="650"/>
                      <a:pt x="1137" y="659"/>
                      <a:pt x="1127" y="669"/>
                    </a:cubicBezTo>
                    <a:cubicBezTo>
                      <a:pt x="1106" y="688"/>
                      <a:pt x="1085" y="707"/>
                      <a:pt x="1063" y="725"/>
                    </a:cubicBezTo>
                    <a:cubicBezTo>
                      <a:pt x="1046" y="739"/>
                      <a:pt x="1029" y="753"/>
                      <a:pt x="1011" y="764"/>
                    </a:cubicBezTo>
                    <a:cubicBezTo>
                      <a:pt x="993" y="776"/>
                      <a:pt x="974" y="785"/>
                      <a:pt x="956" y="790"/>
                    </a:cubicBezTo>
                    <a:cubicBezTo>
                      <a:pt x="937" y="795"/>
                      <a:pt x="918" y="796"/>
                      <a:pt x="900" y="792"/>
                    </a:cubicBezTo>
                    <a:cubicBezTo>
                      <a:pt x="881" y="788"/>
                      <a:pt x="863" y="780"/>
                      <a:pt x="845" y="769"/>
                    </a:cubicBezTo>
                    <a:cubicBezTo>
                      <a:pt x="826" y="758"/>
                      <a:pt x="809" y="745"/>
                      <a:pt x="791" y="731"/>
                    </a:cubicBezTo>
                    <a:cubicBezTo>
                      <a:pt x="774" y="716"/>
                      <a:pt x="757" y="701"/>
                      <a:pt x="739" y="685"/>
                    </a:cubicBezTo>
                    <a:cubicBezTo>
                      <a:pt x="722" y="669"/>
                      <a:pt x="705" y="653"/>
                      <a:pt x="687" y="637"/>
                    </a:cubicBezTo>
                    <a:cubicBezTo>
                      <a:pt x="670" y="622"/>
                      <a:pt x="653" y="606"/>
                      <a:pt x="636" y="589"/>
                    </a:cubicBezTo>
                    <a:cubicBezTo>
                      <a:pt x="601" y="557"/>
                      <a:pt x="564" y="523"/>
                      <a:pt x="519" y="497"/>
                    </a:cubicBezTo>
                    <a:cubicBezTo>
                      <a:pt x="497" y="485"/>
                      <a:pt x="473" y="474"/>
                      <a:pt x="447" y="467"/>
                    </a:cubicBezTo>
                    <a:cubicBezTo>
                      <a:pt x="434" y="463"/>
                      <a:pt x="420" y="461"/>
                      <a:pt x="407" y="460"/>
                    </a:cubicBezTo>
                    <a:cubicBezTo>
                      <a:pt x="400" y="459"/>
                      <a:pt x="393" y="459"/>
                      <a:pt x="386" y="459"/>
                    </a:cubicBezTo>
                    <a:cubicBezTo>
                      <a:pt x="379" y="459"/>
                      <a:pt x="372" y="459"/>
                      <a:pt x="364" y="460"/>
                    </a:cubicBezTo>
                    <a:cubicBezTo>
                      <a:pt x="334" y="465"/>
                      <a:pt x="306" y="478"/>
                      <a:pt x="285" y="499"/>
                    </a:cubicBezTo>
                    <a:cubicBezTo>
                      <a:pt x="263" y="519"/>
                      <a:pt x="247" y="546"/>
                      <a:pt x="240" y="575"/>
                    </a:cubicBezTo>
                    <a:cubicBezTo>
                      <a:pt x="239" y="582"/>
                      <a:pt x="237" y="589"/>
                      <a:pt x="237" y="597"/>
                    </a:cubicBezTo>
                    <a:cubicBezTo>
                      <a:pt x="236" y="600"/>
                      <a:pt x="236" y="604"/>
                      <a:pt x="236" y="608"/>
                    </a:cubicBezTo>
                    <a:cubicBezTo>
                      <a:pt x="236" y="617"/>
                      <a:pt x="236" y="617"/>
                      <a:pt x="236" y="617"/>
                    </a:cubicBezTo>
                    <a:cubicBezTo>
                      <a:pt x="236" y="628"/>
                      <a:pt x="236" y="640"/>
                      <a:pt x="236" y="652"/>
                    </a:cubicBezTo>
                    <a:cubicBezTo>
                      <a:pt x="236" y="675"/>
                      <a:pt x="236" y="698"/>
                      <a:pt x="236" y="721"/>
                    </a:cubicBezTo>
                    <a:cubicBezTo>
                      <a:pt x="236" y="793"/>
                      <a:pt x="236" y="793"/>
                      <a:pt x="236" y="793"/>
                    </a:cubicBezTo>
                    <a:cubicBezTo>
                      <a:pt x="236" y="829"/>
                      <a:pt x="236" y="829"/>
                      <a:pt x="236" y="829"/>
                    </a:cubicBezTo>
                    <a:cubicBezTo>
                      <a:pt x="236" y="843"/>
                      <a:pt x="236" y="843"/>
                      <a:pt x="236" y="843"/>
                    </a:cubicBezTo>
                    <a:cubicBezTo>
                      <a:pt x="236" y="844"/>
                      <a:pt x="236" y="845"/>
                      <a:pt x="236" y="846"/>
                    </a:cubicBezTo>
                    <a:cubicBezTo>
                      <a:pt x="236" y="847"/>
                      <a:pt x="235" y="848"/>
                      <a:pt x="234" y="848"/>
                    </a:cubicBezTo>
                    <a:cubicBezTo>
                      <a:pt x="233" y="849"/>
                      <a:pt x="232" y="849"/>
                      <a:pt x="231" y="849"/>
                    </a:cubicBezTo>
                    <a:cubicBezTo>
                      <a:pt x="229" y="849"/>
                      <a:pt x="229" y="849"/>
                      <a:pt x="229" y="849"/>
                    </a:cubicBezTo>
                    <a:cubicBezTo>
                      <a:pt x="221" y="849"/>
                      <a:pt x="221" y="849"/>
                      <a:pt x="221" y="849"/>
                    </a:cubicBezTo>
                    <a:cubicBezTo>
                      <a:pt x="215" y="849"/>
                      <a:pt x="210" y="849"/>
                      <a:pt x="204" y="849"/>
                    </a:cubicBezTo>
                    <a:cubicBezTo>
                      <a:pt x="186" y="849"/>
                      <a:pt x="186" y="849"/>
                      <a:pt x="186" y="849"/>
                    </a:cubicBezTo>
                    <a:cubicBezTo>
                      <a:pt x="182" y="849"/>
                      <a:pt x="177" y="849"/>
                      <a:pt x="173" y="848"/>
                    </a:cubicBezTo>
                    <a:cubicBezTo>
                      <a:pt x="163" y="847"/>
                      <a:pt x="154" y="845"/>
                      <a:pt x="145" y="841"/>
                    </a:cubicBezTo>
                    <a:cubicBezTo>
                      <a:pt x="127" y="835"/>
                      <a:pt x="110" y="824"/>
                      <a:pt x="97" y="811"/>
                    </a:cubicBezTo>
                    <a:cubicBezTo>
                      <a:pt x="83" y="797"/>
                      <a:pt x="74" y="782"/>
                      <a:pt x="72" y="767"/>
                    </a:cubicBezTo>
                    <a:cubicBezTo>
                      <a:pt x="72" y="765"/>
                      <a:pt x="72" y="763"/>
                      <a:pt x="72" y="761"/>
                    </a:cubicBezTo>
                    <a:cubicBezTo>
                      <a:pt x="72" y="760"/>
                      <a:pt x="72" y="759"/>
                      <a:pt x="72" y="759"/>
                    </a:cubicBezTo>
                    <a:cubicBezTo>
                      <a:pt x="71" y="754"/>
                      <a:pt x="71" y="754"/>
                      <a:pt x="71" y="754"/>
                    </a:cubicBezTo>
                    <a:cubicBezTo>
                      <a:pt x="72" y="736"/>
                      <a:pt x="72" y="736"/>
                      <a:pt x="72" y="736"/>
                    </a:cubicBezTo>
                    <a:cubicBezTo>
                      <a:pt x="72" y="701"/>
                      <a:pt x="72" y="701"/>
                      <a:pt x="72" y="701"/>
                    </a:cubicBezTo>
                    <a:cubicBezTo>
                      <a:pt x="72" y="677"/>
                      <a:pt x="72" y="653"/>
                      <a:pt x="72" y="629"/>
                    </a:cubicBezTo>
                    <a:cubicBezTo>
                      <a:pt x="72" y="443"/>
                      <a:pt x="72" y="78"/>
                      <a:pt x="72" y="74"/>
                    </a:cubicBezTo>
                    <a:cubicBezTo>
                      <a:pt x="72" y="73"/>
                      <a:pt x="73" y="71"/>
                      <a:pt x="74" y="70"/>
                    </a:cubicBezTo>
                    <a:cubicBezTo>
                      <a:pt x="74" y="70"/>
                      <a:pt x="75" y="69"/>
                      <a:pt x="77" y="69"/>
                    </a:cubicBezTo>
                    <a:cubicBezTo>
                      <a:pt x="78" y="69"/>
                      <a:pt x="82" y="69"/>
                      <a:pt x="87" y="69"/>
                    </a:cubicBezTo>
                    <a:cubicBezTo>
                      <a:pt x="102" y="69"/>
                      <a:pt x="132" y="69"/>
                      <a:pt x="151" y="69"/>
                    </a:cubicBezTo>
                    <a:cubicBezTo>
                      <a:pt x="165" y="69"/>
                      <a:pt x="180" y="69"/>
                      <a:pt x="195" y="69"/>
                    </a:cubicBezTo>
                    <a:cubicBezTo>
                      <a:pt x="217" y="69"/>
                      <a:pt x="217" y="69"/>
                      <a:pt x="217" y="69"/>
                    </a:cubicBezTo>
                    <a:cubicBezTo>
                      <a:pt x="221" y="69"/>
                      <a:pt x="223" y="69"/>
                      <a:pt x="226" y="69"/>
                    </a:cubicBezTo>
                    <a:cubicBezTo>
                      <a:pt x="229" y="70"/>
                      <a:pt x="232" y="70"/>
                      <a:pt x="235" y="70"/>
                    </a:cubicBezTo>
                    <a:cubicBezTo>
                      <a:pt x="260" y="73"/>
                      <a:pt x="284" y="80"/>
                      <a:pt x="306" y="92"/>
                    </a:cubicBezTo>
                    <a:cubicBezTo>
                      <a:pt x="317" y="97"/>
                      <a:pt x="327" y="104"/>
                      <a:pt x="336" y="112"/>
                    </a:cubicBezTo>
                    <a:cubicBezTo>
                      <a:pt x="339" y="114"/>
                      <a:pt x="341" y="116"/>
                      <a:pt x="343" y="118"/>
                    </a:cubicBezTo>
                    <a:cubicBezTo>
                      <a:pt x="351" y="125"/>
                      <a:pt x="351" y="125"/>
                      <a:pt x="351" y="125"/>
                    </a:cubicBezTo>
                    <a:cubicBezTo>
                      <a:pt x="367" y="140"/>
                      <a:pt x="367" y="140"/>
                      <a:pt x="367" y="140"/>
                    </a:cubicBezTo>
                    <a:cubicBezTo>
                      <a:pt x="425" y="195"/>
                      <a:pt x="484" y="250"/>
                      <a:pt x="542" y="303"/>
                    </a:cubicBezTo>
                    <a:cubicBezTo>
                      <a:pt x="543" y="303"/>
                      <a:pt x="543" y="303"/>
                      <a:pt x="543" y="303"/>
                    </a:cubicBezTo>
                    <a:cubicBezTo>
                      <a:pt x="544" y="305"/>
                      <a:pt x="544" y="305"/>
                      <a:pt x="544" y="305"/>
                    </a:cubicBezTo>
                    <a:cubicBezTo>
                      <a:pt x="547" y="308"/>
                      <a:pt x="547" y="308"/>
                      <a:pt x="547" y="308"/>
                    </a:cubicBezTo>
                    <a:cubicBezTo>
                      <a:pt x="552" y="313"/>
                      <a:pt x="552" y="313"/>
                      <a:pt x="552" y="313"/>
                    </a:cubicBezTo>
                    <a:cubicBezTo>
                      <a:pt x="556" y="317"/>
                      <a:pt x="560" y="320"/>
                      <a:pt x="564" y="323"/>
                    </a:cubicBezTo>
                    <a:cubicBezTo>
                      <a:pt x="572" y="330"/>
                      <a:pt x="580" y="337"/>
                      <a:pt x="588" y="343"/>
                    </a:cubicBezTo>
                    <a:cubicBezTo>
                      <a:pt x="604" y="356"/>
                      <a:pt x="621" y="367"/>
                      <a:pt x="639" y="378"/>
                    </a:cubicBezTo>
                    <a:cubicBezTo>
                      <a:pt x="673" y="398"/>
                      <a:pt x="710" y="414"/>
                      <a:pt x="746" y="426"/>
                    </a:cubicBezTo>
                    <a:cubicBezTo>
                      <a:pt x="782" y="438"/>
                      <a:pt x="819" y="445"/>
                      <a:pt x="854" y="449"/>
                    </a:cubicBezTo>
                    <a:cubicBezTo>
                      <a:pt x="889" y="452"/>
                      <a:pt x="922" y="453"/>
                      <a:pt x="954" y="451"/>
                    </a:cubicBezTo>
                    <a:cubicBezTo>
                      <a:pt x="1018" y="446"/>
                      <a:pt x="1073" y="432"/>
                      <a:pt x="1117" y="414"/>
                    </a:cubicBezTo>
                    <a:cubicBezTo>
                      <a:pt x="1157" y="398"/>
                      <a:pt x="1194" y="378"/>
                      <a:pt x="1225" y="355"/>
                    </a:cubicBezTo>
                    <a:cubicBezTo>
                      <a:pt x="1241" y="344"/>
                      <a:pt x="1256" y="332"/>
                      <a:pt x="1270" y="319"/>
                    </a:cubicBezTo>
                    <a:cubicBezTo>
                      <a:pt x="1277" y="313"/>
                      <a:pt x="1284" y="307"/>
                      <a:pt x="1290" y="300"/>
                    </a:cubicBezTo>
                    <a:cubicBezTo>
                      <a:pt x="1297" y="294"/>
                      <a:pt x="1303" y="288"/>
                      <a:pt x="1309" y="282"/>
                    </a:cubicBezTo>
                    <a:cubicBezTo>
                      <a:pt x="1393" y="199"/>
                      <a:pt x="1459" y="134"/>
                      <a:pt x="1489" y="102"/>
                    </a:cubicBezTo>
                    <a:cubicBezTo>
                      <a:pt x="1504" y="87"/>
                      <a:pt x="1516" y="74"/>
                      <a:pt x="1527" y="63"/>
                    </a:cubicBezTo>
                    <a:cubicBezTo>
                      <a:pt x="1528" y="61"/>
                      <a:pt x="1529" y="60"/>
                      <a:pt x="1530" y="59"/>
                    </a:cubicBezTo>
                    <a:cubicBezTo>
                      <a:pt x="1531" y="58"/>
                      <a:pt x="1532" y="57"/>
                      <a:pt x="1533" y="55"/>
                    </a:cubicBezTo>
                    <a:cubicBezTo>
                      <a:pt x="1534" y="55"/>
                      <a:pt x="1534" y="54"/>
                      <a:pt x="1535" y="54"/>
                    </a:cubicBezTo>
                    <a:cubicBezTo>
                      <a:pt x="1535" y="53"/>
                      <a:pt x="1536" y="53"/>
                      <a:pt x="1536" y="53"/>
                    </a:cubicBezTo>
                    <a:cubicBezTo>
                      <a:pt x="1537" y="51"/>
                      <a:pt x="1538" y="50"/>
                      <a:pt x="1539" y="49"/>
                    </a:cubicBezTo>
                    <a:cubicBezTo>
                      <a:pt x="1542" y="48"/>
                      <a:pt x="1544" y="47"/>
                      <a:pt x="1546" y="46"/>
                    </a:cubicBezTo>
                    <a:cubicBezTo>
                      <a:pt x="1548" y="45"/>
                      <a:pt x="1550" y="44"/>
                      <a:pt x="1552" y="43"/>
                    </a:cubicBezTo>
                    <a:cubicBezTo>
                      <a:pt x="1552" y="42"/>
                      <a:pt x="1563" y="37"/>
                      <a:pt x="1565" y="36"/>
                    </a:cubicBezTo>
                    <a:cubicBezTo>
                      <a:pt x="1570" y="33"/>
                      <a:pt x="1570" y="31"/>
                      <a:pt x="1552" y="28"/>
                    </a:cubicBezTo>
                    <a:cubicBezTo>
                      <a:pt x="1551" y="28"/>
                      <a:pt x="1551" y="28"/>
                      <a:pt x="1551" y="28"/>
                    </a:cubicBezTo>
                    <a:cubicBezTo>
                      <a:pt x="1549" y="28"/>
                      <a:pt x="1549" y="28"/>
                      <a:pt x="1549" y="28"/>
                    </a:cubicBezTo>
                    <a:cubicBezTo>
                      <a:pt x="1547" y="29"/>
                      <a:pt x="1544" y="29"/>
                      <a:pt x="1541" y="30"/>
                    </a:cubicBezTo>
                    <a:cubicBezTo>
                      <a:pt x="1540" y="31"/>
                      <a:pt x="1538" y="31"/>
                      <a:pt x="1536" y="32"/>
                    </a:cubicBezTo>
                    <a:cubicBezTo>
                      <a:pt x="1534" y="32"/>
                      <a:pt x="1532" y="33"/>
                      <a:pt x="1529" y="34"/>
                    </a:cubicBezTo>
                    <a:cubicBezTo>
                      <a:pt x="1523" y="39"/>
                      <a:pt x="1516" y="45"/>
                      <a:pt x="1507" y="51"/>
                    </a:cubicBezTo>
                    <a:cubicBezTo>
                      <a:pt x="1499" y="58"/>
                      <a:pt x="1489" y="66"/>
                      <a:pt x="1478" y="75"/>
                    </a:cubicBezTo>
                    <a:cubicBezTo>
                      <a:pt x="1449" y="99"/>
                      <a:pt x="1366" y="175"/>
                      <a:pt x="1260" y="273"/>
                    </a:cubicBezTo>
                    <a:cubicBezTo>
                      <a:pt x="1256" y="276"/>
                      <a:pt x="1253" y="279"/>
                      <a:pt x="1250" y="282"/>
                    </a:cubicBezTo>
                    <a:cubicBezTo>
                      <a:pt x="1247" y="285"/>
                      <a:pt x="1243" y="288"/>
                      <a:pt x="1240" y="290"/>
                    </a:cubicBezTo>
                    <a:cubicBezTo>
                      <a:pt x="1233" y="296"/>
                      <a:pt x="1226" y="302"/>
                      <a:pt x="1219" y="307"/>
                    </a:cubicBezTo>
                    <a:cubicBezTo>
                      <a:pt x="1205" y="318"/>
                      <a:pt x="1189" y="328"/>
                      <a:pt x="1173" y="337"/>
                    </a:cubicBezTo>
                    <a:cubicBezTo>
                      <a:pt x="1140" y="356"/>
                      <a:pt x="1104" y="371"/>
                      <a:pt x="1066" y="382"/>
                    </a:cubicBezTo>
                    <a:cubicBezTo>
                      <a:pt x="991" y="403"/>
                      <a:pt x="908" y="407"/>
                      <a:pt x="831" y="392"/>
                    </a:cubicBezTo>
                    <a:cubicBezTo>
                      <a:pt x="762" y="379"/>
                      <a:pt x="696" y="352"/>
                      <a:pt x="640" y="311"/>
                    </a:cubicBezTo>
                    <a:cubicBezTo>
                      <a:pt x="626" y="301"/>
                      <a:pt x="612" y="290"/>
                      <a:pt x="600" y="278"/>
                    </a:cubicBezTo>
                    <a:cubicBezTo>
                      <a:pt x="597" y="275"/>
                      <a:pt x="593" y="272"/>
                      <a:pt x="590" y="269"/>
                    </a:cubicBezTo>
                    <a:cubicBezTo>
                      <a:pt x="586" y="264"/>
                      <a:pt x="586" y="264"/>
                      <a:pt x="586" y="264"/>
                    </a:cubicBezTo>
                    <a:cubicBezTo>
                      <a:pt x="583" y="262"/>
                      <a:pt x="583" y="262"/>
                      <a:pt x="583" y="262"/>
                    </a:cubicBezTo>
                    <a:cubicBezTo>
                      <a:pt x="580" y="259"/>
                      <a:pt x="580" y="259"/>
                      <a:pt x="580" y="259"/>
                    </a:cubicBezTo>
                    <a:cubicBezTo>
                      <a:pt x="560" y="240"/>
                      <a:pt x="560" y="240"/>
                      <a:pt x="560" y="240"/>
                    </a:cubicBezTo>
                    <a:cubicBezTo>
                      <a:pt x="534" y="215"/>
                      <a:pt x="508" y="190"/>
                      <a:pt x="481" y="164"/>
                    </a:cubicBezTo>
                    <a:cubicBezTo>
                      <a:pt x="454" y="139"/>
                      <a:pt x="428" y="113"/>
                      <a:pt x="401" y="88"/>
                    </a:cubicBezTo>
                    <a:cubicBezTo>
                      <a:pt x="391" y="78"/>
                      <a:pt x="391" y="78"/>
                      <a:pt x="391" y="78"/>
                    </a:cubicBezTo>
                    <a:cubicBezTo>
                      <a:pt x="386" y="73"/>
                      <a:pt x="386" y="73"/>
                      <a:pt x="386" y="73"/>
                    </a:cubicBezTo>
                    <a:cubicBezTo>
                      <a:pt x="384" y="71"/>
                      <a:pt x="382" y="69"/>
                      <a:pt x="380" y="68"/>
                    </a:cubicBezTo>
                    <a:cubicBezTo>
                      <a:pt x="372" y="61"/>
                      <a:pt x="364" y="55"/>
                      <a:pt x="355" y="49"/>
                    </a:cubicBezTo>
                    <a:cubicBezTo>
                      <a:pt x="338" y="37"/>
                      <a:pt x="319" y="27"/>
                      <a:pt x="299" y="20"/>
                    </a:cubicBezTo>
                    <a:cubicBezTo>
                      <a:pt x="279" y="13"/>
                      <a:pt x="258" y="9"/>
                      <a:pt x="237" y="7"/>
                    </a:cubicBezTo>
                    <a:cubicBezTo>
                      <a:pt x="234" y="7"/>
                      <a:pt x="232" y="6"/>
                      <a:pt x="229" y="6"/>
                    </a:cubicBezTo>
                    <a:cubicBezTo>
                      <a:pt x="225" y="6"/>
                      <a:pt x="225" y="6"/>
                      <a:pt x="225" y="6"/>
                    </a:cubicBezTo>
                    <a:cubicBezTo>
                      <a:pt x="221" y="6"/>
                      <a:pt x="221" y="6"/>
                      <a:pt x="221" y="6"/>
                    </a:cubicBezTo>
                    <a:cubicBezTo>
                      <a:pt x="206" y="6"/>
                      <a:pt x="206" y="6"/>
                      <a:pt x="206" y="6"/>
                    </a:cubicBezTo>
                    <a:cubicBezTo>
                      <a:pt x="197" y="6"/>
                      <a:pt x="188" y="6"/>
                      <a:pt x="178" y="6"/>
                    </a:cubicBezTo>
                    <a:cubicBezTo>
                      <a:pt x="136" y="5"/>
                      <a:pt x="91" y="5"/>
                      <a:pt x="50" y="5"/>
                    </a:cubicBezTo>
                    <a:cubicBezTo>
                      <a:pt x="48" y="5"/>
                      <a:pt x="47" y="5"/>
                      <a:pt x="45" y="5"/>
                    </a:cubicBezTo>
                    <a:cubicBezTo>
                      <a:pt x="44" y="5"/>
                      <a:pt x="43" y="5"/>
                      <a:pt x="42" y="5"/>
                    </a:cubicBezTo>
                    <a:cubicBezTo>
                      <a:pt x="9" y="9"/>
                      <a:pt x="7" y="36"/>
                      <a:pt x="7" y="47"/>
                    </a:cubicBezTo>
                    <a:cubicBezTo>
                      <a:pt x="7" y="54"/>
                      <a:pt x="7" y="61"/>
                      <a:pt x="7" y="68"/>
                    </a:cubicBezTo>
                    <a:cubicBezTo>
                      <a:pt x="7" y="95"/>
                      <a:pt x="7" y="138"/>
                      <a:pt x="7" y="167"/>
                    </a:cubicBezTo>
                    <a:cubicBezTo>
                      <a:pt x="6" y="267"/>
                      <a:pt x="6" y="368"/>
                      <a:pt x="5" y="475"/>
                    </a:cubicBezTo>
                    <a:cubicBezTo>
                      <a:pt x="5" y="525"/>
                      <a:pt x="5" y="577"/>
                      <a:pt x="4" y="630"/>
                    </a:cubicBezTo>
                    <a:cubicBezTo>
                      <a:pt x="4" y="657"/>
                      <a:pt x="4" y="683"/>
                      <a:pt x="4" y="710"/>
                    </a:cubicBezTo>
                    <a:cubicBezTo>
                      <a:pt x="4" y="724"/>
                      <a:pt x="4" y="737"/>
                      <a:pt x="4" y="751"/>
                    </a:cubicBezTo>
                    <a:cubicBezTo>
                      <a:pt x="4" y="756"/>
                      <a:pt x="4" y="756"/>
                      <a:pt x="4" y="756"/>
                    </a:cubicBezTo>
                    <a:cubicBezTo>
                      <a:pt x="4" y="759"/>
                      <a:pt x="4" y="759"/>
                      <a:pt x="4" y="759"/>
                    </a:cubicBezTo>
                    <a:cubicBezTo>
                      <a:pt x="4" y="762"/>
                      <a:pt x="4" y="762"/>
                      <a:pt x="4" y="762"/>
                    </a:cubicBezTo>
                    <a:cubicBezTo>
                      <a:pt x="4" y="767"/>
                      <a:pt x="5" y="771"/>
                      <a:pt x="5" y="776"/>
                    </a:cubicBezTo>
                    <a:cubicBezTo>
                      <a:pt x="7" y="785"/>
                      <a:pt x="9" y="794"/>
                      <a:pt x="12" y="803"/>
                    </a:cubicBezTo>
                    <a:cubicBezTo>
                      <a:pt x="19" y="820"/>
                      <a:pt x="28" y="835"/>
                      <a:pt x="39" y="848"/>
                    </a:cubicBezTo>
                    <a:cubicBezTo>
                      <a:pt x="51" y="861"/>
                      <a:pt x="63" y="872"/>
                      <a:pt x="77" y="882"/>
                    </a:cubicBezTo>
                    <a:cubicBezTo>
                      <a:pt x="91" y="891"/>
                      <a:pt x="105" y="898"/>
                      <a:pt x="121" y="904"/>
                    </a:cubicBezTo>
                    <a:cubicBezTo>
                      <a:pt x="136" y="910"/>
                      <a:pt x="153" y="914"/>
                      <a:pt x="170" y="916"/>
                    </a:cubicBezTo>
                    <a:cubicBezTo>
                      <a:pt x="174" y="917"/>
                      <a:pt x="179" y="917"/>
                      <a:pt x="183" y="917"/>
                    </a:cubicBezTo>
                    <a:cubicBezTo>
                      <a:pt x="195" y="917"/>
                      <a:pt x="195" y="917"/>
                      <a:pt x="195" y="917"/>
                    </a:cubicBezTo>
                    <a:cubicBezTo>
                      <a:pt x="202" y="917"/>
                      <a:pt x="209" y="917"/>
                      <a:pt x="216" y="917"/>
                    </a:cubicBezTo>
                    <a:cubicBezTo>
                      <a:pt x="228" y="917"/>
                      <a:pt x="228" y="917"/>
                      <a:pt x="228" y="917"/>
                    </a:cubicBezTo>
                    <a:cubicBezTo>
                      <a:pt x="233" y="916"/>
                      <a:pt x="233" y="916"/>
                      <a:pt x="233" y="916"/>
                    </a:cubicBezTo>
                    <a:cubicBezTo>
                      <a:pt x="238" y="916"/>
                      <a:pt x="238" y="916"/>
                      <a:pt x="238" y="916"/>
                    </a:cubicBezTo>
                    <a:cubicBezTo>
                      <a:pt x="243" y="916"/>
                      <a:pt x="243" y="916"/>
                      <a:pt x="243" y="916"/>
                    </a:cubicBezTo>
                    <a:cubicBezTo>
                      <a:pt x="256" y="914"/>
                      <a:pt x="269" y="913"/>
                      <a:pt x="279" y="906"/>
                    </a:cubicBezTo>
                    <a:cubicBezTo>
                      <a:pt x="284" y="904"/>
                      <a:pt x="289" y="899"/>
                      <a:pt x="293" y="894"/>
                    </a:cubicBezTo>
                    <a:cubicBezTo>
                      <a:pt x="296" y="890"/>
                      <a:pt x="299" y="884"/>
                      <a:pt x="301" y="879"/>
                    </a:cubicBezTo>
                    <a:cubicBezTo>
                      <a:pt x="301" y="876"/>
                      <a:pt x="302" y="873"/>
                      <a:pt x="303" y="870"/>
                    </a:cubicBezTo>
                    <a:cubicBezTo>
                      <a:pt x="303" y="866"/>
                      <a:pt x="303" y="863"/>
                      <a:pt x="303" y="860"/>
                    </a:cubicBezTo>
                    <a:cubicBezTo>
                      <a:pt x="303" y="841"/>
                      <a:pt x="303" y="841"/>
                      <a:pt x="303" y="841"/>
                    </a:cubicBezTo>
                    <a:cubicBezTo>
                      <a:pt x="303" y="827"/>
                      <a:pt x="303" y="813"/>
                      <a:pt x="303" y="799"/>
                    </a:cubicBezTo>
                    <a:cubicBezTo>
                      <a:pt x="303" y="742"/>
                      <a:pt x="303" y="685"/>
                      <a:pt x="303" y="628"/>
                    </a:cubicBezTo>
                    <a:cubicBezTo>
                      <a:pt x="304" y="607"/>
                      <a:pt x="304" y="607"/>
                      <a:pt x="304" y="607"/>
                    </a:cubicBezTo>
                    <a:cubicBezTo>
                      <a:pt x="304" y="602"/>
                      <a:pt x="304" y="597"/>
                      <a:pt x="305" y="592"/>
                    </a:cubicBezTo>
                    <a:cubicBezTo>
                      <a:pt x="307" y="582"/>
                      <a:pt x="311" y="573"/>
                      <a:pt x="317" y="564"/>
                    </a:cubicBezTo>
                    <a:cubicBezTo>
                      <a:pt x="328" y="547"/>
                      <a:pt x="345" y="534"/>
                      <a:pt x="364" y="529"/>
                    </a:cubicBezTo>
                    <a:cubicBezTo>
                      <a:pt x="369" y="527"/>
                      <a:pt x="374" y="526"/>
                      <a:pt x="379" y="526"/>
                    </a:cubicBezTo>
                    <a:cubicBezTo>
                      <a:pt x="381" y="526"/>
                      <a:pt x="383" y="526"/>
                      <a:pt x="386" y="526"/>
                    </a:cubicBezTo>
                    <a:cubicBezTo>
                      <a:pt x="389" y="526"/>
                      <a:pt x="392" y="526"/>
                      <a:pt x="395" y="526"/>
                    </a:cubicBezTo>
                    <a:cubicBezTo>
                      <a:pt x="407" y="526"/>
                      <a:pt x="419" y="528"/>
                      <a:pt x="430" y="531"/>
                    </a:cubicBezTo>
                    <a:cubicBezTo>
                      <a:pt x="454" y="537"/>
                      <a:pt x="476" y="548"/>
                      <a:pt x="498" y="562"/>
                    </a:cubicBezTo>
                    <a:cubicBezTo>
                      <a:pt x="520" y="576"/>
                      <a:pt x="541" y="593"/>
                      <a:pt x="561" y="611"/>
                    </a:cubicBezTo>
                    <a:cubicBezTo>
                      <a:pt x="582" y="628"/>
                      <a:pt x="602" y="648"/>
                      <a:pt x="623" y="667"/>
                    </a:cubicBezTo>
                    <a:cubicBezTo>
                      <a:pt x="633" y="677"/>
                      <a:pt x="644" y="687"/>
                      <a:pt x="654" y="695"/>
                    </a:cubicBezTo>
                    <a:cubicBezTo>
                      <a:pt x="665" y="705"/>
                      <a:pt x="675" y="714"/>
                      <a:pt x="685" y="723"/>
                    </a:cubicBezTo>
                    <a:cubicBezTo>
                      <a:pt x="706" y="742"/>
                      <a:pt x="726" y="761"/>
                      <a:pt x="748" y="779"/>
                    </a:cubicBezTo>
                    <a:cubicBezTo>
                      <a:pt x="770" y="797"/>
                      <a:pt x="794" y="815"/>
                      <a:pt x="820" y="829"/>
                    </a:cubicBezTo>
                    <a:cubicBezTo>
                      <a:pt x="834" y="837"/>
                      <a:pt x="848" y="843"/>
                      <a:pt x="863" y="848"/>
                    </a:cubicBezTo>
                    <a:cubicBezTo>
                      <a:pt x="878" y="853"/>
                      <a:pt x="894" y="856"/>
                      <a:pt x="911" y="857"/>
                    </a:cubicBezTo>
                    <a:cubicBezTo>
                      <a:pt x="927" y="858"/>
                      <a:pt x="943" y="857"/>
                      <a:pt x="959" y="854"/>
                    </a:cubicBezTo>
                    <a:cubicBezTo>
                      <a:pt x="974" y="851"/>
                      <a:pt x="989" y="846"/>
                      <a:pt x="1003" y="840"/>
                    </a:cubicBezTo>
                    <a:cubicBezTo>
                      <a:pt x="1031" y="827"/>
                      <a:pt x="1054" y="811"/>
                      <a:pt x="1076" y="795"/>
                    </a:cubicBezTo>
                    <a:cubicBezTo>
                      <a:pt x="1097" y="778"/>
                      <a:pt x="1117" y="761"/>
                      <a:pt x="1135" y="744"/>
                    </a:cubicBezTo>
                    <a:cubicBezTo>
                      <a:pt x="1154" y="727"/>
                      <a:pt x="1172" y="710"/>
                      <a:pt x="1190" y="694"/>
                    </a:cubicBezTo>
                    <a:cubicBezTo>
                      <a:pt x="1195" y="690"/>
                      <a:pt x="1199" y="686"/>
                      <a:pt x="1203" y="682"/>
                    </a:cubicBezTo>
                    <a:cubicBezTo>
                      <a:pt x="1208" y="678"/>
                      <a:pt x="1213" y="673"/>
                      <a:pt x="1217" y="669"/>
                    </a:cubicBezTo>
                    <a:cubicBezTo>
                      <a:pt x="1226" y="661"/>
                      <a:pt x="1235" y="653"/>
                      <a:pt x="1243" y="644"/>
                    </a:cubicBezTo>
                    <a:cubicBezTo>
                      <a:pt x="1260" y="628"/>
                      <a:pt x="1277" y="613"/>
                      <a:pt x="1294" y="598"/>
                    </a:cubicBezTo>
                    <a:cubicBezTo>
                      <a:pt x="1327" y="569"/>
                      <a:pt x="1361" y="546"/>
                      <a:pt x="1396" y="532"/>
                    </a:cubicBezTo>
                    <a:cubicBezTo>
                      <a:pt x="1414" y="526"/>
                      <a:pt x="1431" y="522"/>
                      <a:pt x="1449" y="520"/>
                    </a:cubicBezTo>
                    <a:cubicBezTo>
                      <a:pt x="1453" y="520"/>
                      <a:pt x="1458" y="520"/>
                      <a:pt x="1462" y="520"/>
                    </a:cubicBezTo>
                    <a:cubicBezTo>
                      <a:pt x="1465" y="520"/>
                      <a:pt x="1469" y="520"/>
                      <a:pt x="1473" y="520"/>
                    </a:cubicBezTo>
                    <a:cubicBezTo>
                      <a:pt x="1480" y="521"/>
                      <a:pt x="1487" y="523"/>
                      <a:pt x="1494" y="526"/>
                    </a:cubicBezTo>
                    <a:cubicBezTo>
                      <a:pt x="1508" y="532"/>
                      <a:pt x="1520" y="541"/>
                      <a:pt x="1529" y="551"/>
                    </a:cubicBezTo>
                    <a:cubicBezTo>
                      <a:pt x="1538" y="562"/>
                      <a:pt x="1544" y="575"/>
                      <a:pt x="1548" y="588"/>
                    </a:cubicBezTo>
                    <a:cubicBezTo>
                      <a:pt x="1550" y="594"/>
                      <a:pt x="1550" y="601"/>
                      <a:pt x="1551" y="607"/>
                    </a:cubicBezTo>
                    <a:cubicBezTo>
                      <a:pt x="1551" y="616"/>
                      <a:pt x="1551" y="624"/>
                      <a:pt x="1551" y="632"/>
                    </a:cubicBezTo>
                    <a:cubicBezTo>
                      <a:pt x="1551" y="649"/>
                      <a:pt x="1552" y="665"/>
                      <a:pt x="1552" y="680"/>
                    </a:cubicBezTo>
                    <a:cubicBezTo>
                      <a:pt x="1552" y="696"/>
                      <a:pt x="1552" y="711"/>
                      <a:pt x="1553" y="726"/>
                    </a:cubicBezTo>
                    <a:cubicBezTo>
                      <a:pt x="1553" y="733"/>
                      <a:pt x="1553" y="741"/>
                      <a:pt x="1553" y="748"/>
                    </a:cubicBezTo>
                    <a:cubicBezTo>
                      <a:pt x="1553" y="751"/>
                      <a:pt x="1553" y="755"/>
                      <a:pt x="1553" y="759"/>
                    </a:cubicBezTo>
                    <a:cubicBezTo>
                      <a:pt x="1553" y="763"/>
                      <a:pt x="1554" y="767"/>
                      <a:pt x="1554" y="772"/>
                    </a:cubicBezTo>
                    <a:cubicBezTo>
                      <a:pt x="1557" y="789"/>
                      <a:pt x="1563" y="804"/>
                      <a:pt x="1570" y="817"/>
                    </a:cubicBezTo>
                    <a:cubicBezTo>
                      <a:pt x="1578" y="830"/>
                      <a:pt x="1587" y="840"/>
                      <a:pt x="1597" y="849"/>
                    </a:cubicBezTo>
                    <a:cubicBezTo>
                      <a:pt x="1615" y="867"/>
                      <a:pt x="1636" y="879"/>
                      <a:pt x="1655" y="887"/>
                    </a:cubicBezTo>
                    <a:cubicBezTo>
                      <a:pt x="1674" y="895"/>
                      <a:pt x="1693" y="899"/>
                      <a:pt x="1711" y="901"/>
                    </a:cubicBezTo>
                    <a:cubicBezTo>
                      <a:pt x="1720" y="902"/>
                      <a:pt x="1730" y="902"/>
                      <a:pt x="1737" y="901"/>
                    </a:cubicBezTo>
                    <a:cubicBezTo>
                      <a:pt x="1745" y="901"/>
                      <a:pt x="1752" y="901"/>
                      <a:pt x="1759" y="900"/>
                    </a:cubicBezTo>
                    <a:cubicBezTo>
                      <a:pt x="1763" y="900"/>
                      <a:pt x="1766" y="899"/>
                      <a:pt x="1770" y="899"/>
                    </a:cubicBezTo>
                    <a:cubicBezTo>
                      <a:pt x="1772" y="899"/>
                      <a:pt x="1774" y="899"/>
                      <a:pt x="1776" y="899"/>
                    </a:cubicBezTo>
                    <a:cubicBezTo>
                      <a:pt x="1778" y="898"/>
                      <a:pt x="1781" y="898"/>
                      <a:pt x="1783" y="898"/>
                    </a:cubicBezTo>
                    <a:cubicBezTo>
                      <a:pt x="1793" y="897"/>
                      <a:pt x="1801" y="895"/>
                      <a:pt x="1809" y="891"/>
                    </a:cubicBezTo>
                    <a:cubicBezTo>
                      <a:pt x="1812" y="889"/>
                      <a:pt x="1815" y="886"/>
                      <a:pt x="1818" y="883"/>
                    </a:cubicBezTo>
                    <a:cubicBezTo>
                      <a:pt x="1820" y="879"/>
                      <a:pt x="1821" y="875"/>
                      <a:pt x="1822" y="871"/>
                    </a:cubicBezTo>
                    <a:cubicBezTo>
                      <a:pt x="1824" y="863"/>
                      <a:pt x="1823" y="855"/>
                      <a:pt x="1823" y="8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1" name="Freeform 18">
                <a:extLst>
                  <a:ext uri="{FF2B5EF4-FFF2-40B4-BE49-F238E27FC236}">
                    <a16:creationId xmlns:a16="http://schemas.microsoft.com/office/drawing/2014/main" id="{1E634E3A-B111-4858-8C2E-60504A3A0225}"/>
                  </a:ext>
                </a:extLst>
              </p:cNvPr>
              <p:cNvSpPr>
                <a:spLocks noEditPoints="1"/>
              </p:cNvSpPr>
              <p:nvPr>
                <p:custDataLst>
                  <p:tags r:id="rId5"/>
                </p:custDataLst>
              </p:nvPr>
            </p:nvSpPr>
            <p:spPr bwMode="gray">
              <a:xfrm>
                <a:off x="2663826" y="1716088"/>
                <a:ext cx="6837363" cy="3429000"/>
              </a:xfrm>
              <a:custGeom>
                <a:avLst/>
                <a:gdLst>
                  <a:gd name="T0" fmla="*/ 766 w 1820"/>
                  <a:gd name="T1" fmla="*/ 724 h 912"/>
                  <a:gd name="T2" fmla="*/ 242 w 1820"/>
                  <a:gd name="T3" fmla="*/ 667 h 912"/>
                  <a:gd name="T4" fmla="*/ 177 w 1820"/>
                  <a:gd name="T5" fmla="*/ 856 h 912"/>
                  <a:gd name="T6" fmla="*/ 53 w 1820"/>
                  <a:gd name="T7" fmla="*/ 533 h 912"/>
                  <a:gd name="T8" fmla="*/ 364 w 1820"/>
                  <a:gd name="T9" fmla="*/ 112 h 912"/>
                  <a:gd name="T10" fmla="*/ 918 w 1820"/>
                  <a:gd name="T11" fmla="*/ 427 h 912"/>
                  <a:gd name="T12" fmla="*/ 536 w 1820"/>
                  <a:gd name="T13" fmla="*/ 234 h 912"/>
                  <a:gd name="T14" fmla="*/ 164 w 1820"/>
                  <a:gd name="T15" fmla="*/ 13 h 912"/>
                  <a:gd name="T16" fmla="*/ 112 w 1820"/>
                  <a:gd name="T17" fmla="*/ 882 h 912"/>
                  <a:gd name="T18" fmla="*/ 282 w 1820"/>
                  <a:gd name="T19" fmla="*/ 868 h 912"/>
                  <a:gd name="T20" fmla="*/ 382 w 1820"/>
                  <a:gd name="T21" fmla="*/ 504 h 912"/>
                  <a:gd name="T22" fmla="*/ 990 w 1820"/>
                  <a:gd name="T23" fmla="*/ 815 h 912"/>
                  <a:gd name="T24" fmla="*/ 582 w 1820"/>
                  <a:gd name="T25" fmla="*/ 589 h 912"/>
                  <a:gd name="T26" fmla="*/ 278 w 1820"/>
                  <a:gd name="T27" fmla="*/ 834 h 912"/>
                  <a:gd name="T28" fmla="*/ 183 w 1820"/>
                  <a:gd name="T29" fmla="*/ 891 h 912"/>
                  <a:gd name="T30" fmla="*/ 20 w 1820"/>
                  <a:gd name="T31" fmla="*/ 636 h 912"/>
                  <a:gd name="T32" fmla="*/ 332 w 1820"/>
                  <a:gd name="T33" fmla="*/ 52 h 912"/>
                  <a:gd name="T34" fmla="*/ 749 w 1820"/>
                  <a:gd name="T35" fmla="*/ 392 h 912"/>
                  <a:gd name="T36" fmla="*/ 494 w 1820"/>
                  <a:gd name="T37" fmla="*/ 228 h 912"/>
                  <a:gd name="T38" fmla="*/ 50 w 1820"/>
                  <a:gd name="T39" fmla="*/ 710 h 912"/>
                  <a:gd name="T40" fmla="*/ 230 w 1820"/>
                  <a:gd name="T41" fmla="*/ 860 h 912"/>
                  <a:gd name="T42" fmla="*/ 253 w 1820"/>
                  <a:gd name="T43" fmla="*/ 576 h 912"/>
                  <a:gd name="T44" fmla="*/ 742 w 1820"/>
                  <a:gd name="T45" fmla="*/ 718 h 912"/>
                  <a:gd name="T46" fmla="*/ 1791 w 1820"/>
                  <a:gd name="T47" fmla="*/ 805 h 912"/>
                  <a:gd name="T48" fmla="*/ 1713 w 1820"/>
                  <a:gd name="T49" fmla="*/ 860 h 912"/>
                  <a:gd name="T50" fmla="*/ 1597 w 1820"/>
                  <a:gd name="T51" fmla="*/ 604 h 912"/>
                  <a:gd name="T52" fmla="*/ 1123 w 1820"/>
                  <a:gd name="T53" fmla="*/ 664 h 912"/>
                  <a:gd name="T54" fmla="*/ 443 w 1820"/>
                  <a:gd name="T55" fmla="*/ 462 h 912"/>
                  <a:gd name="T56" fmla="*/ 232 w 1820"/>
                  <a:gd name="T57" fmla="*/ 788 h 912"/>
                  <a:gd name="T58" fmla="*/ 141 w 1820"/>
                  <a:gd name="T59" fmla="*/ 836 h 912"/>
                  <a:gd name="T60" fmla="*/ 147 w 1820"/>
                  <a:gd name="T61" fmla="*/ 64 h 912"/>
                  <a:gd name="T62" fmla="*/ 539 w 1820"/>
                  <a:gd name="T63" fmla="*/ 298 h 912"/>
                  <a:gd name="T64" fmla="*/ 1221 w 1820"/>
                  <a:gd name="T65" fmla="*/ 350 h 912"/>
                  <a:gd name="T66" fmla="*/ 1564 w 1820"/>
                  <a:gd name="T67" fmla="*/ 30 h 912"/>
                  <a:gd name="T68" fmla="*/ 827 w 1820"/>
                  <a:gd name="T69" fmla="*/ 387 h 912"/>
                  <a:gd name="T70" fmla="*/ 382 w 1820"/>
                  <a:gd name="T71" fmla="*/ 68 h 912"/>
                  <a:gd name="T72" fmla="*/ 3 w 1820"/>
                  <a:gd name="T73" fmla="*/ 42 h 912"/>
                  <a:gd name="T74" fmla="*/ 35 w 1820"/>
                  <a:gd name="T75" fmla="*/ 843 h 912"/>
                  <a:gd name="T76" fmla="*/ 275 w 1820"/>
                  <a:gd name="T77" fmla="*/ 901 h 912"/>
                  <a:gd name="T78" fmla="*/ 360 w 1820"/>
                  <a:gd name="T79" fmla="*/ 524 h 912"/>
                  <a:gd name="T80" fmla="*/ 816 w 1820"/>
                  <a:gd name="T81" fmla="*/ 824 h 912"/>
                  <a:gd name="T82" fmla="*/ 1290 w 1820"/>
                  <a:gd name="T83" fmla="*/ 593 h 912"/>
                  <a:gd name="T84" fmla="*/ 1549 w 1820"/>
                  <a:gd name="T85" fmla="*/ 721 h 912"/>
                  <a:gd name="T86" fmla="*/ 1772 w 1820"/>
                  <a:gd name="T87" fmla="*/ 894 h 912"/>
                  <a:gd name="T88" fmla="*/ 1760 w 1820"/>
                  <a:gd name="T89" fmla="*/ 884 h 912"/>
                  <a:gd name="T90" fmla="*/ 1556 w 1820"/>
                  <a:gd name="T91" fmla="*/ 628 h 912"/>
                  <a:gd name="T92" fmla="*/ 1200 w 1820"/>
                  <a:gd name="T93" fmla="*/ 668 h 912"/>
                  <a:gd name="T94" fmla="*/ 633 w 1820"/>
                  <a:gd name="T95" fmla="*/ 669 h 912"/>
                  <a:gd name="T96" fmla="*/ 295 w 1820"/>
                  <a:gd name="T97" fmla="*/ 600 h 912"/>
                  <a:gd name="T98" fmla="*/ 279 w 1820"/>
                  <a:gd name="T99" fmla="*/ 893 h 912"/>
                  <a:gd name="T100" fmla="*/ 22 w 1820"/>
                  <a:gd name="T101" fmla="*/ 818 h 912"/>
                  <a:gd name="T102" fmla="*/ 278 w 1820"/>
                  <a:gd name="T103" fmla="*/ 15 h 912"/>
                  <a:gd name="T104" fmla="*/ 1281 w 1820"/>
                  <a:gd name="T105" fmla="*/ 260 h 912"/>
                  <a:gd name="T106" fmla="*/ 1161 w 1820"/>
                  <a:gd name="T107" fmla="*/ 381 h 912"/>
                  <a:gd name="T108" fmla="*/ 368 w 1820"/>
                  <a:gd name="T109" fmla="*/ 130 h 912"/>
                  <a:gd name="T110" fmla="*/ 63 w 1820"/>
                  <a:gd name="T111" fmla="*/ 68 h 912"/>
                  <a:gd name="T112" fmla="*/ 186 w 1820"/>
                  <a:gd name="T113" fmla="*/ 848 h 912"/>
                  <a:gd name="T114" fmla="*/ 235 w 1820"/>
                  <a:gd name="T115" fmla="*/ 593 h 912"/>
                  <a:gd name="T116" fmla="*/ 665 w 1820"/>
                  <a:gd name="T117" fmla="*/ 619 h 912"/>
                  <a:gd name="T118" fmla="*/ 1141 w 1820"/>
                  <a:gd name="T119" fmla="*/ 651 h 912"/>
                  <a:gd name="T120" fmla="*/ 1593 w 1820"/>
                  <a:gd name="T121" fmla="*/ 597 h 912"/>
                  <a:gd name="T122" fmla="*/ 1745 w 1820"/>
                  <a:gd name="T123" fmla="*/ 865 h 912"/>
                  <a:gd name="T124" fmla="*/ 1796 w 1820"/>
                  <a:gd name="T125" fmla="*/ 811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912">
                    <a:moveTo>
                      <a:pt x="1297" y="537"/>
                    </a:moveTo>
                    <a:cubicBezTo>
                      <a:pt x="1277" y="550"/>
                      <a:pt x="1259" y="564"/>
                      <a:pt x="1235" y="585"/>
                    </a:cubicBezTo>
                    <a:cubicBezTo>
                      <a:pt x="1220" y="598"/>
                      <a:pt x="1201" y="615"/>
                      <a:pt x="1181" y="633"/>
                    </a:cubicBezTo>
                    <a:cubicBezTo>
                      <a:pt x="1176" y="637"/>
                      <a:pt x="1171" y="642"/>
                      <a:pt x="1166" y="646"/>
                    </a:cubicBezTo>
                    <a:cubicBezTo>
                      <a:pt x="1161" y="651"/>
                      <a:pt x="1155" y="656"/>
                      <a:pt x="1150" y="660"/>
                    </a:cubicBezTo>
                    <a:cubicBezTo>
                      <a:pt x="1139" y="670"/>
                      <a:pt x="1127" y="680"/>
                      <a:pt x="1116" y="690"/>
                    </a:cubicBezTo>
                    <a:cubicBezTo>
                      <a:pt x="1090" y="713"/>
                      <a:pt x="1064" y="737"/>
                      <a:pt x="1036" y="757"/>
                    </a:cubicBezTo>
                    <a:cubicBezTo>
                      <a:pt x="1008" y="777"/>
                      <a:pt x="978" y="794"/>
                      <a:pt x="946" y="800"/>
                    </a:cubicBezTo>
                    <a:cubicBezTo>
                      <a:pt x="930" y="804"/>
                      <a:pt x="914" y="804"/>
                      <a:pt x="898" y="801"/>
                    </a:cubicBezTo>
                    <a:cubicBezTo>
                      <a:pt x="882" y="798"/>
                      <a:pt x="866" y="792"/>
                      <a:pt x="850" y="785"/>
                    </a:cubicBezTo>
                    <a:cubicBezTo>
                      <a:pt x="820" y="769"/>
                      <a:pt x="792" y="747"/>
                      <a:pt x="766" y="724"/>
                    </a:cubicBezTo>
                    <a:cubicBezTo>
                      <a:pt x="741" y="702"/>
                      <a:pt x="715" y="677"/>
                      <a:pt x="688" y="652"/>
                    </a:cubicBezTo>
                    <a:cubicBezTo>
                      <a:pt x="681" y="646"/>
                      <a:pt x="674" y="640"/>
                      <a:pt x="667" y="634"/>
                    </a:cubicBezTo>
                    <a:cubicBezTo>
                      <a:pt x="661" y="627"/>
                      <a:pt x="654" y="621"/>
                      <a:pt x="647" y="615"/>
                    </a:cubicBezTo>
                    <a:cubicBezTo>
                      <a:pt x="633" y="602"/>
                      <a:pt x="620" y="588"/>
                      <a:pt x="605" y="575"/>
                    </a:cubicBezTo>
                    <a:cubicBezTo>
                      <a:pt x="576" y="549"/>
                      <a:pt x="545" y="522"/>
                      <a:pt x="508" y="501"/>
                    </a:cubicBezTo>
                    <a:cubicBezTo>
                      <a:pt x="490" y="490"/>
                      <a:pt x="470" y="481"/>
                      <a:pt x="449" y="474"/>
                    </a:cubicBezTo>
                    <a:cubicBezTo>
                      <a:pt x="428" y="468"/>
                      <a:pt x="405" y="464"/>
                      <a:pt x="383" y="464"/>
                    </a:cubicBezTo>
                    <a:cubicBezTo>
                      <a:pt x="358" y="464"/>
                      <a:pt x="334" y="470"/>
                      <a:pt x="312" y="483"/>
                    </a:cubicBezTo>
                    <a:cubicBezTo>
                      <a:pt x="291" y="495"/>
                      <a:pt x="274" y="513"/>
                      <a:pt x="261" y="534"/>
                    </a:cubicBezTo>
                    <a:cubicBezTo>
                      <a:pt x="249" y="555"/>
                      <a:pt x="242" y="580"/>
                      <a:pt x="242" y="605"/>
                    </a:cubicBezTo>
                    <a:cubicBezTo>
                      <a:pt x="242" y="625"/>
                      <a:pt x="242" y="646"/>
                      <a:pt x="242" y="667"/>
                    </a:cubicBezTo>
                    <a:cubicBezTo>
                      <a:pt x="242" y="708"/>
                      <a:pt x="243" y="750"/>
                      <a:pt x="243" y="791"/>
                    </a:cubicBezTo>
                    <a:cubicBezTo>
                      <a:pt x="243" y="809"/>
                      <a:pt x="243" y="826"/>
                      <a:pt x="243" y="844"/>
                    </a:cubicBezTo>
                    <a:cubicBezTo>
                      <a:pt x="243" y="846"/>
                      <a:pt x="243" y="849"/>
                      <a:pt x="242" y="851"/>
                    </a:cubicBezTo>
                    <a:cubicBezTo>
                      <a:pt x="241" y="852"/>
                      <a:pt x="240" y="853"/>
                      <a:pt x="239" y="853"/>
                    </a:cubicBezTo>
                    <a:cubicBezTo>
                      <a:pt x="238" y="854"/>
                      <a:pt x="237" y="854"/>
                      <a:pt x="236" y="854"/>
                    </a:cubicBezTo>
                    <a:cubicBezTo>
                      <a:pt x="234" y="855"/>
                      <a:pt x="232" y="855"/>
                      <a:pt x="229" y="855"/>
                    </a:cubicBezTo>
                    <a:cubicBezTo>
                      <a:pt x="226" y="855"/>
                      <a:pt x="226" y="855"/>
                      <a:pt x="226" y="855"/>
                    </a:cubicBezTo>
                    <a:cubicBezTo>
                      <a:pt x="219" y="856"/>
                      <a:pt x="219" y="856"/>
                      <a:pt x="219" y="856"/>
                    </a:cubicBezTo>
                    <a:cubicBezTo>
                      <a:pt x="209" y="856"/>
                      <a:pt x="200" y="856"/>
                      <a:pt x="191" y="856"/>
                    </a:cubicBezTo>
                    <a:cubicBezTo>
                      <a:pt x="184" y="856"/>
                      <a:pt x="184" y="856"/>
                      <a:pt x="184" y="856"/>
                    </a:cubicBezTo>
                    <a:cubicBezTo>
                      <a:pt x="181" y="856"/>
                      <a:pt x="180" y="856"/>
                      <a:pt x="177" y="856"/>
                    </a:cubicBezTo>
                    <a:cubicBezTo>
                      <a:pt x="173" y="856"/>
                      <a:pt x="169" y="856"/>
                      <a:pt x="165" y="855"/>
                    </a:cubicBezTo>
                    <a:cubicBezTo>
                      <a:pt x="149" y="853"/>
                      <a:pt x="133" y="847"/>
                      <a:pt x="117" y="839"/>
                    </a:cubicBezTo>
                    <a:cubicBezTo>
                      <a:pt x="102" y="831"/>
                      <a:pt x="89" y="821"/>
                      <a:pt x="77" y="808"/>
                    </a:cubicBezTo>
                    <a:cubicBezTo>
                      <a:pt x="66" y="796"/>
                      <a:pt x="58" y="782"/>
                      <a:pt x="55" y="766"/>
                    </a:cubicBezTo>
                    <a:cubicBezTo>
                      <a:pt x="55" y="763"/>
                      <a:pt x="54" y="759"/>
                      <a:pt x="54" y="755"/>
                    </a:cubicBezTo>
                    <a:cubicBezTo>
                      <a:pt x="54" y="752"/>
                      <a:pt x="54" y="752"/>
                      <a:pt x="54" y="752"/>
                    </a:cubicBezTo>
                    <a:cubicBezTo>
                      <a:pt x="54" y="748"/>
                      <a:pt x="54" y="748"/>
                      <a:pt x="54" y="748"/>
                    </a:cubicBezTo>
                    <a:cubicBezTo>
                      <a:pt x="54" y="741"/>
                      <a:pt x="54" y="741"/>
                      <a:pt x="54" y="741"/>
                    </a:cubicBezTo>
                    <a:cubicBezTo>
                      <a:pt x="54" y="731"/>
                      <a:pt x="54" y="721"/>
                      <a:pt x="54" y="712"/>
                    </a:cubicBezTo>
                    <a:cubicBezTo>
                      <a:pt x="54" y="692"/>
                      <a:pt x="54" y="672"/>
                      <a:pt x="53" y="652"/>
                    </a:cubicBezTo>
                    <a:cubicBezTo>
                      <a:pt x="53" y="613"/>
                      <a:pt x="53" y="573"/>
                      <a:pt x="53" y="533"/>
                    </a:cubicBezTo>
                    <a:cubicBezTo>
                      <a:pt x="53" y="376"/>
                      <a:pt x="52" y="68"/>
                      <a:pt x="52" y="62"/>
                    </a:cubicBezTo>
                    <a:cubicBezTo>
                      <a:pt x="52" y="51"/>
                      <a:pt x="55" y="48"/>
                      <a:pt x="66" y="48"/>
                    </a:cubicBezTo>
                    <a:cubicBezTo>
                      <a:pt x="82" y="48"/>
                      <a:pt x="118" y="47"/>
                      <a:pt x="144" y="47"/>
                    </a:cubicBezTo>
                    <a:cubicBezTo>
                      <a:pt x="158" y="47"/>
                      <a:pt x="172" y="47"/>
                      <a:pt x="186" y="47"/>
                    </a:cubicBezTo>
                    <a:cubicBezTo>
                      <a:pt x="193" y="47"/>
                      <a:pt x="200" y="47"/>
                      <a:pt x="207" y="47"/>
                    </a:cubicBezTo>
                    <a:cubicBezTo>
                      <a:pt x="218" y="47"/>
                      <a:pt x="218" y="47"/>
                      <a:pt x="218" y="47"/>
                    </a:cubicBezTo>
                    <a:cubicBezTo>
                      <a:pt x="221" y="47"/>
                      <a:pt x="224" y="47"/>
                      <a:pt x="227" y="48"/>
                    </a:cubicBezTo>
                    <a:cubicBezTo>
                      <a:pt x="253" y="49"/>
                      <a:pt x="278" y="56"/>
                      <a:pt x="302" y="67"/>
                    </a:cubicBezTo>
                    <a:cubicBezTo>
                      <a:pt x="313" y="73"/>
                      <a:pt x="324" y="79"/>
                      <a:pt x="335" y="87"/>
                    </a:cubicBezTo>
                    <a:cubicBezTo>
                      <a:pt x="340" y="90"/>
                      <a:pt x="345" y="94"/>
                      <a:pt x="349" y="99"/>
                    </a:cubicBezTo>
                    <a:cubicBezTo>
                      <a:pt x="354" y="103"/>
                      <a:pt x="359" y="108"/>
                      <a:pt x="364" y="112"/>
                    </a:cubicBezTo>
                    <a:cubicBezTo>
                      <a:pt x="404" y="150"/>
                      <a:pt x="444" y="186"/>
                      <a:pt x="483" y="223"/>
                    </a:cubicBezTo>
                    <a:cubicBezTo>
                      <a:pt x="502" y="241"/>
                      <a:pt x="521" y="259"/>
                      <a:pt x="540" y="276"/>
                    </a:cubicBezTo>
                    <a:cubicBezTo>
                      <a:pt x="548" y="283"/>
                      <a:pt x="548" y="283"/>
                      <a:pt x="548" y="283"/>
                    </a:cubicBezTo>
                    <a:cubicBezTo>
                      <a:pt x="551" y="286"/>
                      <a:pt x="551" y="286"/>
                      <a:pt x="551" y="286"/>
                    </a:cubicBezTo>
                    <a:cubicBezTo>
                      <a:pt x="554" y="290"/>
                      <a:pt x="554" y="290"/>
                      <a:pt x="554" y="290"/>
                    </a:cubicBezTo>
                    <a:cubicBezTo>
                      <a:pt x="559" y="294"/>
                      <a:pt x="564" y="299"/>
                      <a:pt x="569" y="303"/>
                    </a:cubicBezTo>
                    <a:cubicBezTo>
                      <a:pt x="579" y="312"/>
                      <a:pt x="589" y="321"/>
                      <a:pt x="600" y="329"/>
                    </a:cubicBezTo>
                    <a:cubicBezTo>
                      <a:pt x="637" y="357"/>
                      <a:pt x="676" y="377"/>
                      <a:pt x="712" y="392"/>
                    </a:cubicBezTo>
                    <a:cubicBezTo>
                      <a:pt x="748" y="406"/>
                      <a:pt x="782" y="415"/>
                      <a:pt x="811" y="420"/>
                    </a:cubicBezTo>
                    <a:cubicBezTo>
                      <a:pt x="839" y="425"/>
                      <a:pt x="864" y="427"/>
                      <a:pt x="882" y="427"/>
                    </a:cubicBezTo>
                    <a:cubicBezTo>
                      <a:pt x="900" y="428"/>
                      <a:pt x="912" y="427"/>
                      <a:pt x="918" y="427"/>
                    </a:cubicBezTo>
                    <a:cubicBezTo>
                      <a:pt x="940" y="426"/>
                      <a:pt x="956" y="423"/>
                      <a:pt x="967" y="421"/>
                    </a:cubicBezTo>
                    <a:cubicBezTo>
                      <a:pt x="978" y="419"/>
                      <a:pt x="984" y="418"/>
                      <a:pt x="985" y="417"/>
                    </a:cubicBezTo>
                    <a:cubicBezTo>
                      <a:pt x="985" y="415"/>
                      <a:pt x="981" y="415"/>
                      <a:pt x="971" y="415"/>
                    </a:cubicBezTo>
                    <a:cubicBezTo>
                      <a:pt x="961" y="415"/>
                      <a:pt x="948" y="415"/>
                      <a:pt x="924" y="414"/>
                    </a:cubicBezTo>
                    <a:cubicBezTo>
                      <a:pt x="895" y="413"/>
                      <a:pt x="852" y="410"/>
                      <a:pt x="800" y="397"/>
                    </a:cubicBezTo>
                    <a:cubicBezTo>
                      <a:pt x="774" y="390"/>
                      <a:pt x="745" y="381"/>
                      <a:pt x="716" y="368"/>
                    </a:cubicBezTo>
                    <a:cubicBezTo>
                      <a:pt x="686" y="354"/>
                      <a:pt x="655" y="337"/>
                      <a:pt x="626" y="315"/>
                    </a:cubicBezTo>
                    <a:cubicBezTo>
                      <a:pt x="611" y="303"/>
                      <a:pt x="596" y="291"/>
                      <a:pt x="581" y="277"/>
                    </a:cubicBezTo>
                    <a:cubicBezTo>
                      <a:pt x="578" y="274"/>
                      <a:pt x="574" y="270"/>
                      <a:pt x="571" y="267"/>
                    </a:cubicBezTo>
                    <a:cubicBezTo>
                      <a:pt x="567" y="263"/>
                      <a:pt x="563" y="260"/>
                      <a:pt x="559" y="256"/>
                    </a:cubicBezTo>
                    <a:cubicBezTo>
                      <a:pt x="552" y="249"/>
                      <a:pt x="544" y="241"/>
                      <a:pt x="536" y="234"/>
                    </a:cubicBezTo>
                    <a:cubicBezTo>
                      <a:pt x="506" y="204"/>
                      <a:pt x="473" y="173"/>
                      <a:pt x="439" y="140"/>
                    </a:cubicBezTo>
                    <a:cubicBezTo>
                      <a:pt x="422" y="124"/>
                      <a:pt x="405" y="107"/>
                      <a:pt x="387" y="90"/>
                    </a:cubicBezTo>
                    <a:cubicBezTo>
                      <a:pt x="382" y="86"/>
                      <a:pt x="378" y="82"/>
                      <a:pt x="373" y="78"/>
                    </a:cubicBezTo>
                    <a:cubicBezTo>
                      <a:pt x="368" y="73"/>
                      <a:pt x="363" y="69"/>
                      <a:pt x="358" y="65"/>
                    </a:cubicBezTo>
                    <a:cubicBezTo>
                      <a:pt x="348" y="56"/>
                      <a:pt x="336" y="49"/>
                      <a:pt x="324" y="42"/>
                    </a:cubicBezTo>
                    <a:cubicBezTo>
                      <a:pt x="300" y="30"/>
                      <a:pt x="274" y="20"/>
                      <a:pt x="246" y="16"/>
                    </a:cubicBezTo>
                    <a:cubicBezTo>
                      <a:pt x="239" y="15"/>
                      <a:pt x="232" y="15"/>
                      <a:pt x="225" y="14"/>
                    </a:cubicBezTo>
                    <a:cubicBezTo>
                      <a:pt x="220" y="14"/>
                      <a:pt x="220" y="14"/>
                      <a:pt x="220" y="14"/>
                    </a:cubicBezTo>
                    <a:cubicBezTo>
                      <a:pt x="218" y="14"/>
                      <a:pt x="216" y="14"/>
                      <a:pt x="214" y="14"/>
                    </a:cubicBezTo>
                    <a:cubicBezTo>
                      <a:pt x="211" y="14"/>
                      <a:pt x="208" y="14"/>
                      <a:pt x="204" y="14"/>
                    </a:cubicBezTo>
                    <a:cubicBezTo>
                      <a:pt x="191" y="14"/>
                      <a:pt x="177" y="14"/>
                      <a:pt x="164" y="13"/>
                    </a:cubicBezTo>
                    <a:cubicBezTo>
                      <a:pt x="127" y="13"/>
                      <a:pt x="78" y="13"/>
                      <a:pt x="52" y="13"/>
                    </a:cubicBezTo>
                    <a:cubicBezTo>
                      <a:pt x="25" y="13"/>
                      <a:pt x="17" y="29"/>
                      <a:pt x="17" y="48"/>
                    </a:cubicBezTo>
                    <a:cubicBezTo>
                      <a:pt x="17" y="65"/>
                      <a:pt x="16" y="137"/>
                      <a:pt x="16" y="181"/>
                    </a:cubicBezTo>
                    <a:cubicBezTo>
                      <a:pt x="15" y="299"/>
                      <a:pt x="15" y="419"/>
                      <a:pt x="14" y="540"/>
                    </a:cubicBezTo>
                    <a:cubicBezTo>
                      <a:pt x="14" y="600"/>
                      <a:pt x="14" y="660"/>
                      <a:pt x="14" y="721"/>
                    </a:cubicBezTo>
                    <a:cubicBezTo>
                      <a:pt x="14" y="743"/>
                      <a:pt x="14" y="743"/>
                      <a:pt x="14" y="743"/>
                    </a:cubicBezTo>
                    <a:cubicBezTo>
                      <a:pt x="14" y="755"/>
                      <a:pt x="14" y="755"/>
                      <a:pt x="14" y="755"/>
                    </a:cubicBezTo>
                    <a:cubicBezTo>
                      <a:pt x="14" y="759"/>
                      <a:pt x="15" y="764"/>
                      <a:pt x="15" y="769"/>
                    </a:cubicBezTo>
                    <a:cubicBezTo>
                      <a:pt x="18" y="787"/>
                      <a:pt x="25" y="804"/>
                      <a:pt x="35" y="818"/>
                    </a:cubicBezTo>
                    <a:cubicBezTo>
                      <a:pt x="44" y="833"/>
                      <a:pt x="56" y="845"/>
                      <a:pt x="69" y="856"/>
                    </a:cubicBezTo>
                    <a:cubicBezTo>
                      <a:pt x="82" y="866"/>
                      <a:pt x="97" y="875"/>
                      <a:pt x="112" y="882"/>
                    </a:cubicBezTo>
                    <a:cubicBezTo>
                      <a:pt x="127" y="888"/>
                      <a:pt x="143" y="893"/>
                      <a:pt x="160" y="896"/>
                    </a:cubicBezTo>
                    <a:cubicBezTo>
                      <a:pt x="164" y="896"/>
                      <a:pt x="168" y="897"/>
                      <a:pt x="173" y="897"/>
                    </a:cubicBezTo>
                    <a:cubicBezTo>
                      <a:pt x="175" y="897"/>
                      <a:pt x="177" y="897"/>
                      <a:pt x="179" y="897"/>
                    </a:cubicBezTo>
                    <a:cubicBezTo>
                      <a:pt x="185" y="897"/>
                      <a:pt x="185" y="897"/>
                      <a:pt x="185" y="897"/>
                    </a:cubicBezTo>
                    <a:cubicBezTo>
                      <a:pt x="193" y="897"/>
                      <a:pt x="200" y="897"/>
                      <a:pt x="208" y="897"/>
                    </a:cubicBezTo>
                    <a:cubicBezTo>
                      <a:pt x="219" y="897"/>
                      <a:pt x="219" y="897"/>
                      <a:pt x="219" y="897"/>
                    </a:cubicBezTo>
                    <a:cubicBezTo>
                      <a:pt x="225" y="897"/>
                      <a:pt x="225" y="897"/>
                      <a:pt x="225" y="897"/>
                    </a:cubicBezTo>
                    <a:cubicBezTo>
                      <a:pt x="232" y="896"/>
                      <a:pt x="232" y="896"/>
                      <a:pt x="232" y="896"/>
                    </a:cubicBezTo>
                    <a:cubicBezTo>
                      <a:pt x="243" y="896"/>
                      <a:pt x="254" y="894"/>
                      <a:pt x="264" y="891"/>
                    </a:cubicBezTo>
                    <a:cubicBezTo>
                      <a:pt x="268" y="889"/>
                      <a:pt x="273" y="886"/>
                      <a:pt x="276" y="881"/>
                    </a:cubicBezTo>
                    <a:cubicBezTo>
                      <a:pt x="279" y="877"/>
                      <a:pt x="281" y="873"/>
                      <a:pt x="282" y="868"/>
                    </a:cubicBezTo>
                    <a:cubicBezTo>
                      <a:pt x="283" y="865"/>
                      <a:pt x="283" y="863"/>
                      <a:pt x="284" y="860"/>
                    </a:cubicBezTo>
                    <a:cubicBezTo>
                      <a:pt x="284" y="857"/>
                      <a:pt x="284" y="855"/>
                      <a:pt x="284" y="852"/>
                    </a:cubicBezTo>
                    <a:cubicBezTo>
                      <a:pt x="284" y="836"/>
                      <a:pt x="284" y="836"/>
                      <a:pt x="284" y="836"/>
                    </a:cubicBezTo>
                    <a:cubicBezTo>
                      <a:pt x="284" y="777"/>
                      <a:pt x="284" y="719"/>
                      <a:pt x="284" y="661"/>
                    </a:cubicBezTo>
                    <a:cubicBezTo>
                      <a:pt x="284" y="647"/>
                      <a:pt x="284" y="633"/>
                      <a:pt x="284" y="618"/>
                    </a:cubicBezTo>
                    <a:cubicBezTo>
                      <a:pt x="284" y="611"/>
                      <a:pt x="283" y="604"/>
                      <a:pt x="284" y="598"/>
                    </a:cubicBezTo>
                    <a:cubicBezTo>
                      <a:pt x="284" y="592"/>
                      <a:pt x="285" y="586"/>
                      <a:pt x="286" y="581"/>
                    </a:cubicBezTo>
                    <a:cubicBezTo>
                      <a:pt x="292" y="557"/>
                      <a:pt x="306" y="536"/>
                      <a:pt x="325" y="523"/>
                    </a:cubicBezTo>
                    <a:cubicBezTo>
                      <a:pt x="335" y="516"/>
                      <a:pt x="345" y="510"/>
                      <a:pt x="356" y="507"/>
                    </a:cubicBezTo>
                    <a:cubicBezTo>
                      <a:pt x="362" y="506"/>
                      <a:pt x="368" y="505"/>
                      <a:pt x="373" y="504"/>
                    </a:cubicBezTo>
                    <a:cubicBezTo>
                      <a:pt x="376" y="504"/>
                      <a:pt x="379" y="504"/>
                      <a:pt x="382" y="504"/>
                    </a:cubicBezTo>
                    <a:cubicBezTo>
                      <a:pt x="385" y="504"/>
                      <a:pt x="388" y="504"/>
                      <a:pt x="391" y="504"/>
                    </a:cubicBezTo>
                    <a:cubicBezTo>
                      <a:pt x="416" y="505"/>
                      <a:pt x="441" y="511"/>
                      <a:pt x="464" y="521"/>
                    </a:cubicBezTo>
                    <a:cubicBezTo>
                      <a:pt x="487" y="531"/>
                      <a:pt x="508" y="544"/>
                      <a:pt x="528" y="559"/>
                    </a:cubicBezTo>
                    <a:cubicBezTo>
                      <a:pt x="549" y="574"/>
                      <a:pt x="568" y="591"/>
                      <a:pt x="586" y="607"/>
                    </a:cubicBezTo>
                    <a:cubicBezTo>
                      <a:pt x="605" y="624"/>
                      <a:pt x="623" y="641"/>
                      <a:pt x="642" y="658"/>
                    </a:cubicBezTo>
                    <a:cubicBezTo>
                      <a:pt x="651" y="666"/>
                      <a:pt x="660" y="674"/>
                      <a:pt x="669" y="682"/>
                    </a:cubicBezTo>
                    <a:cubicBezTo>
                      <a:pt x="678" y="690"/>
                      <a:pt x="687" y="698"/>
                      <a:pt x="696" y="706"/>
                    </a:cubicBezTo>
                    <a:cubicBezTo>
                      <a:pt x="732" y="737"/>
                      <a:pt x="766" y="769"/>
                      <a:pt x="804" y="793"/>
                    </a:cubicBezTo>
                    <a:cubicBezTo>
                      <a:pt x="824" y="806"/>
                      <a:pt x="844" y="816"/>
                      <a:pt x="865" y="823"/>
                    </a:cubicBezTo>
                    <a:cubicBezTo>
                      <a:pt x="886" y="830"/>
                      <a:pt x="909" y="833"/>
                      <a:pt x="930" y="831"/>
                    </a:cubicBezTo>
                    <a:cubicBezTo>
                      <a:pt x="952" y="829"/>
                      <a:pt x="972" y="823"/>
                      <a:pt x="990" y="815"/>
                    </a:cubicBezTo>
                    <a:cubicBezTo>
                      <a:pt x="1008" y="806"/>
                      <a:pt x="1024" y="796"/>
                      <a:pt x="1039" y="786"/>
                    </a:cubicBezTo>
                    <a:cubicBezTo>
                      <a:pt x="1068" y="765"/>
                      <a:pt x="1092" y="742"/>
                      <a:pt x="1115" y="722"/>
                    </a:cubicBezTo>
                    <a:cubicBezTo>
                      <a:pt x="1136" y="701"/>
                      <a:pt x="1156" y="682"/>
                      <a:pt x="1175" y="665"/>
                    </a:cubicBezTo>
                    <a:cubicBezTo>
                      <a:pt x="1193" y="648"/>
                      <a:pt x="1208" y="632"/>
                      <a:pt x="1222" y="618"/>
                    </a:cubicBezTo>
                    <a:cubicBezTo>
                      <a:pt x="1243" y="597"/>
                      <a:pt x="1255" y="584"/>
                      <a:pt x="1268" y="572"/>
                    </a:cubicBezTo>
                    <a:cubicBezTo>
                      <a:pt x="1287" y="554"/>
                      <a:pt x="1300" y="542"/>
                      <a:pt x="1305" y="536"/>
                    </a:cubicBezTo>
                    <a:cubicBezTo>
                      <a:pt x="1310" y="531"/>
                      <a:pt x="1308" y="530"/>
                      <a:pt x="1297" y="537"/>
                    </a:cubicBezTo>
                    <a:close/>
                    <a:moveTo>
                      <a:pt x="711" y="700"/>
                    </a:moveTo>
                    <a:cubicBezTo>
                      <a:pt x="700" y="691"/>
                      <a:pt x="689" y="682"/>
                      <a:pt x="671" y="667"/>
                    </a:cubicBezTo>
                    <a:cubicBezTo>
                      <a:pt x="659" y="657"/>
                      <a:pt x="645" y="646"/>
                      <a:pt x="631" y="632"/>
                    </a:cubicBezTo>
                    <a:cubicBezTo>
                      <a:pt x="616" y="619"/>
                      <a:pt x="600" y="605"/>
                      <a:pt x="582" y="589"/>
                    </a:cubicBezTo>
                    <a:cubicBezTo>
                      <a:pt x="564" y="574"/>
                      <a:pt x="545" y="558"/>
                      <a:pt x="523" y="543"/>
                    </a:cubicBezTo>
                    <a:cubicBezTo>
                      <a:pt x="501" y="529"/>
                      <a:pt x="476" y="515"/>
                      <a:pt x="448" y="506"/>
                    </a:cubicBezTo>
                    <a:cubicBezTo>
                      <a:pt x="434" y="501"/>
                      <a:pt x="420" y="498"/>
                      <a:pt x="405" y="496"/>
                    </a:cubicBezTo>
                    <a:cubicBezTo>
                      <a:pt x="397" y="496"/>
                      <a:pt x="389" y="495"/>
                      <a:pt x="382" y="495"/>
                    </a:cubicBezTo>
                    <a:cubicBezTo>
                      <a:pt x="374" y="496"/>
                      <a:pt x="367" y="496"/>
                      <a:pt x="359" y="498"/>
                    </a:cubicBezTo>
                    <a:cubicBezTo>
                      <a:pt x="345" y="501"/>
                      <a:pt x="331" y="508"/>
                      <a:pt x="318" y="518"/>
                    </a:cubicBezTo>
                    <a:cubicBezTo>
                      <a:pt x="306" y="527"/>
                      <a:pt x="295" y="540"/>
                      <a:pt x="288" y="554"/>
                    </a:cubicBezTo>
                    <a:cubicBezTo>
                      <a:pt x="281" y="569"/>
                      <a:pt x="276" y="585"/>
                      <a:pt x="276" y="602"/>
                    </a:cubicBezTo>
                    <a:cubicBezTo>
                      <a:pt x="276" y="620"/>
                      <a:pt x="276" y="639"/>
                      <a:pt x="277" y="657"/>
                    </a:cubicBezTo>
                    <a:cubicBezTo>
                      <a:pt x="277" y="695"/>
                      <a:pt x="277" y="734"/>
                      <a:pt x="277" y="774"/>
                    </a:cubicBezTo>
                    <a:cubicBezTo>
                      <a:pt x="277" y="793"/>
                      <a:pt x="278" y="814"/>
                      <a:pt x="278" y="834"/>
                    </a:cubicBezTo>
                    <a:cubicBezTo>
                      <a:pt x="278" y="838"/>
                      <a:pt x="278" y="838"/>
                      <a:pt x="278" y="838"/>
                    </a:cubicBezTo>
                    <a:cubicBezTo>
                      <a:pt x="278" y="843"/>
                      <a:pt x="278" y="843"/>
                      <a:pt x="278" y="843"/>
                    </a:cubicBezTo>
                    <a:cubicBezTo>
                      <a:pt x="278" y="853"/>
                      <a:pt x="278" y="853"/>
                      <a:pt x="278" y="853"/>
                    </a:cubicBezTo>
                    <a:cubicBezTo>
                      <a:pt x="278" y="860"/>
                      <a:pt x="277" y="866"/>
                      <a:pt x="274" y="872"/>
                    </a:cubicBezTo>
                    <a:cubicBezTo>
                      <a:pt x="272" y="878"/>
                      <a:pt x="267" y="883"/>
                      <a:pt x="261" y="885"/>
                    </a:cubicBezTo>
                    <a:cubicBezTo>
                      <a:pt x="255" y="887"/>
                      <a:pt x="248" y="888"/>
                      <a:pt x="241" y="889"/>
                    </a:cubicBezTo>
                    <a:cubicBezTo>
                      <a:pt x="238" y="889"/>
                      <a:pt x="234" y="890"/>
                      <a:pt x="231" y="890"/>
                    </a:cubicBezTo>
                    <a:cubicBezTo>
                      <a:pt x="222" y="890"/>
                      <a:pt x="222" y="890"/>
                      <a:pt x="222" y="890"/>
                    </a:cubicBezTo>
                    <a:cubicBezTo>
                      <a:pt x="217" y="891"/>
                      <a:pt x="212" y="891"/>
                      <a:pt x="206" y="891"/>
                    </a:cubicBezTo>
                    <a:cubicBezTo>
                      <a:pt x="201" y="891"/>
                      <a:pt x="196" y="891"/>
                      <a:pt x="191" y="891"/>
                    </a:cubicBezTo>
                    <a:cubicBezTo>
                      <a:pt x="183" y="891"/>
                      <a:pt x="183" y="891"/>
                      <a:pt x="183" y="891"/>
                    </a:cubicBezTo>
                    <a:cubicBezTo>
                      <a:pt x="180" y="891"/>
                      <a:pt x="177" y="891"/>
                      <a:pt x="174" y="891"/>
                    </a:cubicBezTo>
                    <a:cubicBezTo>
                      <a:pt x="151" y="890"/>
                      <a:pt x="129" y="883"/>
                      <a:pt x="108" y="873"/>
                    </a:cubicBezTo>
                    <a:cubicBezTo>
                      <a:pt x="88" y="863"/>
                      <a:pt x="69" y="850"/>
                      <a:pt x="53" y="832"/>
                    </a:cubicBezTo>
                    <a:cubicBezTo>
                      <a:pt x="45" y="824"/>
                      <a:pt x="38" y="814"/>
                      <a:pt x="32" y="803"/>
                    </a:cubicBezTo>
                    <a:cubicBezTo>
                      <a:pt x="27" y="792"/>
                      <a:pt x="23" y="780"/>
                      <a:pt x="21" y="768"/>
                    </a:cubicBezTo>
                    <a:cubicBezTo>
                      <a:pt x="21" y="765"/>
                      <a:pt x="20" y="762"/>
                      <a:pt x="20" y="759"/>
                    </a:cubicBezTo>
                    <a:cubicBezTo>
                      <a:pt x="20" y="757"/>
                      <a:pt x="20" y="756"/>
                      <a:pt x="20" y="754"/>
                    </a:cubicBezTo>
                    <a:cubicBezTo>
                      <a:pt x="20" y="750"/>
                      <a:pt x="20" y="750"/>
                      <a:pt x="20" y="750"/>
                    </a:cubicBezTo>
                    <a:cubicBezTo>
                      <a:pt x="20" y="734"/>
                      <a:pt x="20" y="734"/>
                      <a:pt x="20" y="734"/>
                    </a:cubicBezTo>
                    <a:cubicBezTo>
                      <a:pt x="20" y="723"/>
                      <a:pt x="20" y="712"/>
                      <a:pt x="20" y="701"/>
                    </a:cubicBezTo>
                    <a:cubicBezTo>
                      <a:pt x="20" y="679"/>
                      <a:pt x="20" y="657"/>
                      <a:pt x="20" y="636"/>
                    </a:cubicBezTo>
                    <a:cubicBezTo>
                      <a:pt x="20" y="460"/>
                      <a:pt x="20" y="282"/>
                      <a:pt x="21" y="112"/>
                    </a:cubicBezTo>
                    <a:cubicBezTo>
                      <a:pt x="21" y="91"/>
                      <a:pt x="21" y="65"/>
                      <a:pt x="21" y="50"/>
                    </a:cubicBezTo>
                    <a:cubicBezTo>
                      <a:pt x="21" y="34"/>
                      <a:pt x="31" y="17"/>
                      <a:pt x="54" y="17"/>
                    </a:cubicBezTo>
                    <a:cubicBezTo>
                      <a:pt x="77" y="17"/>
                      <a:pt x="126" y="18"/>
                      <a:pt x="161" y="18"/>
                    </a:cubicBezTo>
                    <a:cubicBezTo>
                      <a:pt x="171" y="18"/>
                      <a:pt x="181" y="18"/>
                      <a:pt x="191" y="18"/>
                    </a:cubicBezTo>
                    <a:cubicBezTo>
                      <a:pt x="196" y="18"/>
                      <a:pt x="201" y="18"/>
                      <a:pt x="206" y="18"/>
                    </a:cubicBezTo>
                    <a:cubicBezTo>
                      <a:pt x="213" y="18"/>
                      <a:pt x="213" y="18"/>
                      <a:pt x="213" y="18"/>
                    </a:cubicBezTo>
                    <a:cubicBezTo>
                      <a:pt x="216" y="18"/>
                      <a:pt x="216" y="18"/>
                      <a:pt x="216" y="18"/>
                    </a:cubicBezTo>
                    <a:cubicBezTo>
                      <a:pt x="220" y="19"/>
                      <a:pt x="220" y="19"/>
                      <a:pt x="220" y="19"/>
                    </a:cubicBezTo>
                    <a:cubicBezTo>
                      <a:pt x="241" y="19"/>
                      <a:pt x="261" y="23"/>
                      <a:pt x="279" y="29"/>
                    </a:cubicBezTo>
                    <a:cubicBezTo>
                      <a:pt x="298" y="34"/>
                      <a:pt x="316" y="42"/>
                      <a:pt x="332" y="52"/>
                    </a:cubicBezTo>
                    <a:cubicBezTo>
                      <a:pt x="340" y="57"/>
                      <a:pt x="348" y="63"/>
                      <a:pt x="356" y="68"/>
                    </a:cubicBezTo>
                    <a:cubicBezTo>
                      <a:pt x="363" y="74"/>
                      <a:pt x="370" y="81"/>
                      <a:pt x="376" y="87"/>
                    </a:cubicBezTo>
                    <a:cubicBezTo>
                      <a:pt x="427" y="135"/>
                      <a:pt x="473" y="180"/>
                      <a:pt x="515" y="220"/>
                    </a:cubicBezTo>
                    <a:cubicBezTo>
                      <a:pt x="525" y="230"/>
                      <a:pt x="535" y="239"/>
                      <a:pt x="545" y="249"/>
                    </a:cubicBezTo>
                    <a:cubicBezTo>
                      <a:pt x="550" y="253"/>
                      <a:pt x="554" y="258"/>
                      <a:pt x="559" y="262"/>
                    </a:cubicBezTo>
                    <a:cubicBezTo>
                      <a:pt x="561" y="265"/>
                      <a:pt x="564" y="267"/>
                      <a:pt x="566" y="269"/>
                    </a:cubicBezTo>
                    <a:cubicBezTo>
                      <a:pt x="568" y="271"/>
                      <a:pt x="571" y="274"/>
                      <a:pt x="573" y="276"/>
                    </a:cubicBezTo>
                    <a:cubicBezTo>
                      <a:pt x="590" y="293"/>
                      <a:pt x="608" y="308"/>
                      <a:pt x="624" y="320"/>
                    </a:cubicBezTo>
                    <a:cubicBezTo>
                      <a:pt x="657" y="345"/>
                      <a:pt x="687" y="361"/>
                      <a:pt x="707" y="371"/>
                    </a:cubicBezTo>
                    <a:cubicBezTo>
                      <a:pt x="723" y="379"/>
                      <a:pt x="732" y="383"/>
                      <a:pt x="739" y="387"/>
                    </a:cubicBezTo>
                    <a:cubicBezTo>
                      <a:pt x="746" y="390"/>
                      <a:pt x="749" y="392"/>
                      <a:pt x="749" y="392"/>
                    </a:cubicBezTo>
                    <a:cubicBezTo>
                      <a:pt x="748" y="393"/>
                      <a:pt x="743" y="392"/>
                      <a:pt x="735" y="390"/>
                    </a:cubicBezTo>
                    <a:cubicBezTo>
                      <a:pt x="726" y="388"/>
                      <a:pt x="714" y="384"/>
                      <a:pt x="698" y="378"/>
                    </a:cubicBezTo>
                    <a:cubicBezTo>
                      <a:pt x="694" y="376"/>
                      <a:pt x="685" y="373"/>
                      <a:pt x="673" y="367"/>
                    </a:cubicBezTo>
                    <a:cubicBezTo>
                      <a:pt x="660" y="361"/>
                      <a:pt x="644" y="352"/>
                      <a:pt x="625" y="340"/>
                    </a:cubicBezTo>
                    <a:cubicBezTo>
                      <a:pt x="607" y="328"/>
                      <a:pt x="585" y="312"/>
                      <a:pt x="564" y="292"/>
                    </a:cubicBezTo>
                    <a:cubicBezTo>
                      <a:pt x="561" y="290"/>
                      <a:pt x="558" y="287"/>
                      <a:pt x="556" y="284"/>
                    </a:cubicBezTo>
                    <a:cubicBezTo>
                      <a:pt x="554" y="283"/>
                      <a:pt x="554" y="283"/>
                      <a:pt x="554" y="283"/>
                    </a:cubicBezTo>
                    <a:cubicBezTo>
                      <a:pt x="552" y="281"/>
                      <a:pt x="552" y="281"/>
                      <a:pt x="552" y="281"/>
                    </a:cubicBezTo>
                    <a:cubicBezTo>
                      <a:pt x="551" y="280"/>
                      <a:pt x="549" y="278"/>
                      <a:pt x="548" y="277"/>
                    </a:cubicBezTo>
                    <a:cubicBezTo>
                      <a:pt x="542" y="272"/>
                      <a:pt x="536" y="267"/>
                      <a:pt x="531" y="261"/>
                    </a:cubicBezTo>
                    <a:cubicBezTo>
                      <a:pt x="519" y="251"/>
                      <a:pt x="507" y="239"/>
                      <a:pt x="494" y="228"/>
                    </a:cubicBezTo>
                    <a:cubicBezTo>
                      <a:pt x="465" y="200"/>
                      <a:pt x="435" y="172"/>
                      <a:pt x="404" y="144"/>
                    </a:cubicBezTo>
                    <a:cubicBezTo>
                      <a:pt x="389" y="130"/>
                      <a:pt x="374" y="115"/>
                      <a:pt x="358" y="101"/>
                    </a:cubicBezTo>
                    <a:cubicBezTo>
                      <a:pt x="344" y="87"/>
                      <a:pt x="327" y="75"/>
                      <a:pt x="309" y="66"/>
                    </a:cubicBezTo>
                    <a:cubicBezTo>
                      <a:pt x="291" y="57"/>
                      <a:pt x="272" y="50"/>
                      <a:pt x="252" y="46"/>
                    </a:cubicBezTo>
                    <a:cubicBezTo>
                      <a:pt x="242" y="45"/>
                      <a:pt x="232" y="43"/>
                      <a:pt x="222" y="43"/>
                    </a:cubicBezTo>
                    <a:cubicBezTo>
                      <a:pt x="217" y="43"/>
                      <a:pt x="211" y="43"/>
                      <a:pt x="206" y="43"/>
                    </a:cubicBezTo>
                    <a:cubicBezTo>
                      <a:pt x="190" y="43"/>
                      <a:pt x="190" y="43"/>
                      <a:pt x="190" y="43"/>
                    </a:cubicBezTo>
                    <a:cubicBezTo>
                      <a:pt x="148" y="43"/>
                      <a:pt x="73" y="43"/>
                      <a:pt x="64" y="43"/>
                    </a:cubicBezTo>
                    <a:cubicBezTo>
                      <a:pt x="56" y="43"/>
                      <a:pt x="47" y="43"/>
                      <a:pt x="47" y="60"/>
                    </a:cubicBezTo>
                    <a:cubicBezTo>
                      <a:pt x="47" y="78"/>
                      <a:pt x="48" y="278"/>
                      <a:pt x="48" y="386"/>
                    </a:cubicBezTo>
                    <a:cubicBezTo>
                      <a:pt x="49" y="496"/>
                      <a:pt x="49" y="605"/>
                      <a:pt x="50" y="710"/>
                    </a:cubicBezTo>
                    <a:cubicBezTo>
                      <a:pt x="50" y="725"/>
                      <a:pt x="50" y="740"/>
                      <a:pt x="50" y="754"/>
                    </a:cubicBezTo>
                    <a:cubicBezTo>
                      <a:pt x="50" y="767"/>
                      <a:pt x="54" y="779"/>
                      <a:pt x="60" y="790"/>
                    </a:cubicBezTo>
                    <a:cubicBezTo>
                      <a:pt x="72" y="813"/>
                      <a:pt x="94" y="832"/>
                      <a:pt x="118" y="844"/>
                    </a:cubicBezTo>
                    <a:cubicBezTo>
                      <a:pt x="130" y="851"/>
                      <a:pt x="144" y="855"/>
                      <a:pt x="157" y="858"/>
                    </a:cubicBezTo>
                    <a:cubicBezTo>
                      <a:pt x="164" y="860"/>
                      <a:pt x="170" y="860"/>
                      <a:pt x="177" y="861"/>
                    </a:cubicBezTo>
                    <a:cubicBezTo>
                      <a:pt x="179" y="861"/>
                      <a:pt x="180" y="861"/>
                      <a:pt x="182" y="861"/>
                    </a:cubicBezTo>
                    <a:cubicBezTo>
                      <a:pt x="188" y="861"/>
                      <a:pt x="188" y="861"/>
                      <a:pt x="188" y="861"/>
                    </a:cubicBezTo>
                    <a:cubicBezTo>
                      <a:pt x="199" y="861"/>
                      <a:pt x="199" y="861"/>
                      <a:pt x="199" y="861"/>
                    </a:cubicBezTo>
                    <a:cubicBezTo>
                      <a:pt x="207" y="861"/>
                      <a:pt x="214" y="861"/>
                      <a:pt x="221" y="860"/>
                    </a:cubicBezTo>
                    <a:cubicBezTo>
                      <a:pt x="227" y="860"/>
                      <a:pt x="227" y="860"/>
                      <a:pt x="227" y="860"/>
                    </a:cubicBezTo>
                    <a:cubicBezTo>
                      <a:pt x="230" y="860"/>
                      <a:pt x="230" y="860"/>
                      <a:pt x="230" y="860"/>
                    </a:cubicBezTo>
                    <a:cubicBezTo>
                      <a:pt x="232" y="860"/>
                      <a:pt x="235" y="860"/>
                      <a:pt x="237" y="859"/>
                    </a:cubicBezTo>
                    <a:cubicBezTo>
                      <a:pt x="239" y="859"/>
                      <a:pt x="241" y="859"/>
                      <a:pt x="243" y="858"/>
                    </a:cubicBezTo>
                    <a:cubicBezTo>
                      <a:pt x="245" y="857"/>
                      <a:pt x="247" y="855"/>
                      <a:pt x="247" y="853"/>
                    </a:cubicBezTo>
                    <a:cubicBezTo>
                      <a:pt x="248" y="851"/>
                      <a:pt x="248" y="849"/>
                      <a:pt x="248" y="847"/>
                    </a:cubicBezTo>
                    <a:cubicBezTo>
                      <a:pt x="248" y="840"/>
                      <a:pt x="248" y="840"/>
                      <a:pt x="248" y="840"/>
                    </a:cubicBezTo>
                    <a:cubicBezTo>
                      <a:pt x="249" y="780"/>
                      <a:pt x="249" y="721"/>
                      <a:pt x="249" y="664"/>
                    </a:cubicBezTo>
                    <a:cubicBezTo>
                      <a:pt x="250" y="649"/>
                      <a:pt x="250" y="635"/>
                      <a:pt x="250" y="621"/>
                    </a:cubicBezTo>
                    <a:cubicBezTo>
                      <a:pt x="250" y="617"/>
                      <a:pt x="250" y="614"/>
                      <a:pt x="250" y="610"/>
                    </a:cubicBezTo>
                    <a:cubicBezTo>
                      <a:pt x="250" y="605"/>
                      <a:pt x="250" y="605"/>
                      <a:pt x="250" y="605"/>
                    </a:cubicBezTo>
                    <a:cubicBezTo>
                      <a:pt x="250" y="603"/>
                      <a:pt x="250" y="601"/>
                      <a:pt x="250" y="599"/>
                    </a:cubicBezTo>
                    <a:cubicBezTo>
                      <a:pt x="250" y="592"/>
                      <a:pt x="251" y="584"/>
                      <a:pt x="253" y="576"/>
                    </a:cubicBezTo>
                    <a:cubicBezTo>
                      <a:pt x="260" y="546"/>
                      <a:pt x="277" y="519"/>
                      <a:pt x="300" y="501"/>
                    </a:cubicBezTo>
                    <a:cubicBezTo>
                      <a:pt x="311" y="492"/>
                      <a:pt x="325" y="484"/>
                      <a:pt x="339" y="480"/>
                    </a:cubicBezTo>
                    <a:cubicBezTo>
                      <a:pt x="347" y="477"/>
                      <a:pt x="354" y="475"/>
                      <a:pt x="362" y="474"/>
                    </a:cubicBezTo>
                    <a:cubicBezTo>
                      <a:pt x="370" y="473"/>
                      <a:pt x="378" y="473"/>
                      <a:pt x="385" y="473"/>
                    </a:cubicBezTo>
                    <a:cubicBezTo>
                      <a:pt x="415" y="473"/>
                      <a:pt x="445" y="481"/>
                      <a:pt x="471" y="492"/>
                    </a:cubicBezTo>
                    <a:cubicBezTo>
                      <a:pt x="498" y="503"/>
                      <a:pt x="522" y="519"/>
                      <a:pt x="544" y="535"/>
                    </a:cubicBezTo>
                    <a:cubicBezTo>
                      <a:pt x="567" y="552"/>
                      <a:pt x="588" y="571"/>
                      <a:pt x="608" y="590"/>
                    </a:cubicBezTo>
                    <a:cubicBezTo>
                      <a:pt x="625" y="606"/>
                      <a:pt x="641" y="622"/>
                      <a:pt x="657" y="637"/>
                    </a:cubicBezTo>
                    <a:cubicBezTo>
                      <a:pt x="664" y="644"/>
                      <a:pt x="672" y="650"/>
                      <a:pt x="679" y="657"/>
                    </a:cubicBezTo>
                    <a:cubicBezTo>
                      <a:pt x="686" y="663"/>
                      <a:pt x="692" y="669"/>
                      <a:pt x="698" y="675"/>
                    </a:cubicBezTo>
                    <a:cubicBezTo>
                      <a:pt x="716" y="692"/>
                      <a:pt x="729" y="705"/>
                      <a:pt x="742" y="718"/>
                    </a:cubicBezTo>
                    <a:cubicBezTo>
                      <a:pt x="755" y="732"/>
                      <a:pt x="744" y="726"/>
                      <a:pt x="711" y="700"/>
                    </a:cubicBezTo>
                    <a:close/>
                    <a:moveTo>
                      <a:pt x="1819" y="841"/>
                    </a:moveTo>
                    <a:cubicBezTo>
                      <a:pt x="1818" y="816"/>
                      <a:pt x="1817" y="792"/>
                      <a:pt x="1816" y="765"/>
                    </a:cubicBezTo>
                    <a:cubicBezTo>
                      <a:pt x="1813" y="676"/>
                      <a:pt x="1810" y="518"/>
                      <a:pt x="1807" y="449"/>
                    </a:cubicBezTo>
                    <a:cubicBezTo>
                      <a:pt x="1805" y="411"/>
                      <a:pt x="1804" y="390"/>
                      <a:pt x="1802" y="426"/>
                    </a:cubicBezTo>
                    <a:cubicBezTo>
                      <a:pt x="1802" y="439"/>
                      <a:pt x="1801" y="448"/>
                      <a:pt x="1801" y="462"/>
                    </a:cubicBezTo>
                    <a:cubicBezTo>
                      <a:pt x="1798" y="501"/>
                      <a:pt x="1797" y="602"/>
                      <a:pt x="1795" y="654"/>
                    </a:cubicBezTo>
                    <a:cubicBezTo>
                      <a:pt x="1795" y="657"/>
                      <a:pt x="1795" y="659"/>
                      <a:pt x="1795" y="662"/>
                    </a:cubicBezTo>
                    <a:cubicBezTo>
                      <a:pt x="1794" y="686"/>
                      <a:pt x="1793" y="710"/>
                      <a:pt x="1792" y="737"/>
                    </a:cubicBezTo>
                    <a:cubicBezTo>
                      <a:pt x="1792" y="742"/>
                      <a:pt x="1792" y="747"/>
                      <a:pt x="1792" y="752"/>
                    </a:cubicBezTo>
                    <a:cubicBezTo>
                      <a:pt x="1792" y="769"/>
                      <a:pt x="1791" y="787"/>
                      <a:pt x="1791" y="805"/>
                    </a:cubicBezTo>
                    <a:cubicBezTo>
                      <a:pt x="1791" y="814"/>
                      <a:pt x="1790" y="824"/>
                      <a:pt x="1790" y="833"/>
                    </a:cubicBezTo>
                    <a:cubicBezTo>
                      <a:pt x="1790" y="835"/>
                      <a:pt x="1790" y="837"/>
                      <a:pt x="1790" y="839"/>
                    </a:cubicBezTo>
                    <a:cubicBezTo>
                      <a:pt x="1790" y="841"/>
                      <a:pt x="1790" y="842"/>
                      <a:pt x="1790" y="844"/>
                    </a:cubicBezTo>
                    <a:cubicBezTo>
                      <a:pt x="1790" y="847"/>
                      <a:pt x="1790" y="850"/>
                      <a:pt x="1789" y="853"/>
                    </a:cubicBezTo>
                    <a:cubicBezTo>
                      <a:pt x="1788" y="855"/>
                      <a:pt x="1787" y="857"/>
                      <a:pt x="1785" y="859"/>
                    </a:cubicBezTo>
                    <a:cubicBezTo>
                      <a:pt x="1783" y="860"/>
                      <a:pt x="1780" y="860"/>
                      <a:pt x="1778" y="860"/>
                    </a:cubicBezTo>
                    <a:cubicBezTo>
                      <a:pt x="1776" y="860"/>
                      <a:pt x="1773" y="861"/>
                      <a:pt x="1771" y="861"/>
                    </a:cubicBezTo>
                    <a:cubicBezTo>
                      <a:pt x="1768" y="861"/>
                      <a:pt x="1765" y="861"/>
                      <a:pt x="1762" y="861"/>
                    </a:cubicBezTo>
                    <a:cubicBezTo>
                      <a:pt x="1754" y="861"/>
                      <a:pt x="1746" y="861"/>
                      <a:pt x="1737" y="861"/>
                    </a:cubicBezTo>
                    <a:cubicBezTo>
                      <a:pt x="1733" y="861"/>
                      <a:pt x="1729" y="861"/>
                      <a:pt x="1725" y="861"/>
                    </a:cubicBezTo>
                    <a:cubicBezTo>
                      <a:pt x="1721" y="861"/>
                      <a:pt x="1717" y="860"/>
                      <a:pt x="1713" y="860"/>
                    </a:cubicBezTo>
                    <a:cubicBezTo>
                      <a:pt x="1698" y="858"/>
                      <a:pt x="1682" y="853"/>
                      <a:pt x="1666" y="846"/>
                    </a:cubicBezTo>
                    <a:cubicBezTo>
                      <a:pt x="1651" y="838"/>
                      <a:pt x="1636" y="828"/>
                      <a:pt x="1623" y="815"/>
                    </a:cubicBezTo>
                    <a:cubicBezTo>
                      <a:pt x="1610" y="802"/>
                      <a:pt x="1600" y="786"/>
                      <a:pt x="1596" y="769"/>
                    </a:cubicBezTo>
                    <a:cubicBezTo>
                      <a:pt x="1595" y="765"/>
                      <a:pt x="1595" y="760"/>
                      <a:pt x="1595" y="756"/>
                    </a:cubicBezTo>
                    <a:cubicBezTo>
                      <a:pt x="1595" y="755"/>
                      <a:pt x="1595" y="754"/>
                      <a:pt x="1595" y="753"/>
                    </a:cubicBezTo>
                    <a:cubicBezTo>
                      <a:pt x="1595" y="748"/>
                      <a:pt x="1595" y="748"/>
                      <a:pt x="1595" y="748"/>
                    </a:cubicBezTo>
                    <a:cubicBezTo>
                      <a:pt x="1595" y="745"/>
                      <a:pt x="1595" y="742"/>
                      <a:pt x="1595" y="739"/>
                    </a:cubicBezTo>
                    <a:cubicBezTo>
                      <a:pt x="1595" y="728"/>
                      <a:pt x="1595" y="716"/>
                      <a:pt x="1596" y="703"/>
                    </a:cubicBezTo>
                    <a:cubicBezTo>
                      <a:pt x="1596" y="679"/>
                      <a:pt x="1596" y="654"/>
                      <a:pt x="1597" y="628"/>
                    </a:cubicBezTo>
                    <a:cubicBezTo>
                      <a:pt x="1597" y="622"/>
                      <a:pt x="1597" y="615"/>
                      <a:pt x="1597" y="609"/>
                    </a:cubicBezTo>
                    <a:cubicBezTo>
                      <a:pt x="1597" y="604"/>
                      <a:pt x="1597" y="604"/>
                      <a:pt x="1597" y="604"/>
                    </a:cubicBezTo>
                    <a:cubicBezTo>
                      <a:pt x="1597" y="602"/>
                      <a:pt x="1597" y="600"/>
                      <a:pt x="1597" y="598"/>
                    </a:cubicBezTo>
                    <a:cubicBezTo>
                      <a:pt x="1597" y="594"/>
                      <a:pt x="1597" y="590"/>
                      <a:pt x="1596" y="586"/>
                    </a:cubicBezTo>
                    <a:cubicBezTo>
                      <a:pt x="1594" y="570"/>
                      <a:pt x="1590" y="555"/>
                      <a:pt x="1583" y="540"/>
                    </a:cubicBezTo>
                    <a:cubicBezTo>
                      <a:pt x="1572" y="518"/>
                      <a:pt x="1554" y="498"/>
                      <a:pt x="1532" y="483"/>
                    </a:cubicBezTo>
                    <a:cubicBezTo>
                      <a:pt x="1521" y="476"/>
                      <a:pt x="1509" y="470"/>
                      <a:pt x="1496" y="466"/>
                    </a:cubicBezTo>
                    <a:cubicBezTo>
                      <a:pt x="1483" y="462"/>
                      <a:pt x="1469" y="460"/>
                      <a:pt x="1456" y="460"/>
                    </a:cubicBezTo>
                    <a:cubicBezTo>
                      <a:pt x="1430" y="460"/>
                      <a:pt x="1404" y="464"/>
                      <a:pt x="1379" y="472"/>
                    </a:cubicBezTo>
                    <a:cubicBezTo>
                      <a:pt x="1353" y="480"/>
                      <a:pt x="1330" y="493"/>
                      <a:pt x="1307" y="507"/>
                    </a:cubicBezTo>
                    <a:cubicBezTo>
                      <a:pt x="1262" y="536"/>
                      <a:pt x="1223" y="573"/>
                      <a:pt x="1184" y="609"/>
                    </a:cubicBezTo>
                    <a:cubicBezTo>
                      <a:pt x="1174" y="618"/>
                      <a:pt x="1164" y="627"/>
                      <a:pt x="1154" y="636"/>
                    </a:cubicBezTo>
                    <a:cubicBezTo>
                      <a:pt x="1144" y="645"/>
                      <a:pt x="1133" y="654"/>
                      <a:pt x="1123" y="664"/>
                    </a:cubicBezTo>
                    <a:cubicBezTo>
                      <a:pt x="1102" y="683"/>
                      <a:pt x="1081" y="702"/>
                      <a:pt x="1059" y="720"/>
                    </a:cubicBezTo>
                    <a:cubicBezTo>
                      <a:pt x="1042" y="734"/>
                      <a:pt x="1025" y="748"/>
                      <a:pt x="1007" y="759"/>
                    </a:cubicBezTo>
                    <a:cubicBezTo>
                      <a:pt x="989" y="771"/>
                      <a:pt x="970" y="780"/>
                      <a:pt x="952" y="785"/>
                    </a:cubicBezTo>
                    <a:cubicBezTo>
                      <a:pt x="933" y="790"/>
                      <a:pt x="914" y="791"/>
                      <a:pt x="896" y="787"/>
                    </a:cubicBezTo>
                    <a:cubicBezTo>
                      <a:pt x="877" y="783"/>
                      <a:pt x="859" y="775"/>
                      <a:pt x="841" y="764"/>
                    </a:cubicBezTo>
                    <a:cubicBezTo>
                      <a:pt x="822" y="753"/>
                      <a:pt x="805" y="740"/>
                      <a:pt x="787" y="726"/>
                    </a:cubicBezTo>
                    <a:cubicBezTo>
                      <a:pt x="770" y="711"/>
                      <a:pt x="753" y="696"/>
                      <a:pt x="735" y="680"/>
                    </a:cubicBezTo>
                    <a:cubicBezTo>
                      <a:pt x="718" y="664"/>
                      <a:pt x="701" y="648"/>
                      <a:pt x="683" y="632"/>
                    </a:cubicBezTo>
                    <a:cubicBezTo>
                      <a:pt x="666" y="617"/>
                      <a:pt x="649" y="601"/>
                      <a:pt x="632" y="584"/>
                    </a:cubicBezTo>
                    <a:cubicBezTo>
                      <a:pt x="597" y="552"/>
                      <a:pt x="560" y="518"/>
                      <a:pt x="515" y="492"/>
                    </a:cubicBezTo>
                    <a:cubicBezTo>
                      <a:pt x="493" y="480"/>
                      <a:pt x="469" y="469"/>
                      <a:pt x="443" y="462"/>
                    </a:cubicBezTo>
                    <a:cubicBezTo>
                      <a:pt x="430" y="458"/>
                      <a:pt x="416" y="456"/>
                      <a:pt x="403" y="455"/>
                    </a:cubicBezTo>
                    <a:cubicBezTo>
                      <a:pt x="396" y="454"/>
                      <a:pt x="389" y="454"/>
                      <a:pt x="382" y="454"/>
                    </a:cubicBezTo>
                    <a:cubicBezTo>
                      <a:pt x="375" y="454"/>
                      <a:pt x="368" y="454"/>
                      <a:pt x="360" y="455"/>
                    </a:cubicBezTo>
                    <a:cubicBezTo>
                      <a:pt x="330" y="460"/>
                      <a:pt x="302" y="473"/>
                      <a:pt x="281" y="494"/>
                    </a:cubicBezTo>
                    <a:cubicBezTo>
                      <a:pt x="259" y="514"/>
                      <a:pt x="243" y="541"/>
                      <a:pt x="236" y="570"/>
                    </a:cubicBezTo>
                    <a:cubicBezTo>
                      <a:pt x="235" y="577"/>
                      <a:pt x="233" y="584"/>
                      <a:pt x="233" y="592"/>
                    </a:cubicBezTo>
                    <a:cubicBezTo>
                      <a:pt x="232" y="595"/>
                      <a:pt x="232" y="599"/>
                      <a:pt x="232" y="603"/>
                    </a:cubicBezTo>
                    <a:cubicBezTo>
                      <a:pt x="232" y="612"/>
                      <a:pt x="232" y="612"/>
                      <a:pt x="232" y="612"/>
                    </a:cubicBezTo>
                    <a:cubicBezTo>
                      <a:pt x="232" y="623"/>
                      <a:pt x="232" y="635"/>
                      <a:pt x="232" y="647"/>
                    </a:cubicBezTo>
                    <a:cubicBezTo>
                      <a:pt x="232" y="670"/>
                      <a:pt x="232" y="693"/>
                      <a:pt x="232" y="716"/>
                    </a:cubicBezTo>
                    <a:cubicBezTo>
                      <a:pt x="232" y="788"/>
                      <a:pt x="232" y="788"/>
                      <a:pt x="232" y="788"/>
                    </a:cubicBezTo>
                    <a:cubicBezTo>
                      <a:pt x="232" y="824"/>
                      <a:pt x="232" y="824"/>
                      <a:pt x="232" y="824"/>
                    </a:cubicBezTo>
                    <a:cubicBezTo>
                      <a:pt x="232" y="838"/>
                      <a:pt x="232" y="838"/>
                      <a:pt x="232" y="838"/>
                    </a:cubicBezTo>
                    <a:cubicBezTo>
                      <a:pt x="232" y="839"/>
                      <a:pt x="232" y="840"/>
                      <a:pt x="232" y="841"/>
                    </a:cubicBezTo>
                    <a:cubicBezTo>
                      <a:pt x="232" y="842"/>
                      <a:pt x="231" y="843"/>
                      <a:pt x="230" y="843"/>
                    </a:cubicBezTo>
                    <a:cubicBezTo>
                      <a:pt x="229" y="844"/>
                      <a:pt x="228" y="844"/>
                      <a:pt x="227" y="844"/>
                    </a:cubicBezTo>
                    <a:cubicBezTo>
                      <a:pt x="225" y="844"/>
                      <a:pt x="225" y="844"/>
                      <a:pt x="225" y="844"/>
                    </a:cubicBezTo>
                    <a:cubicBezTo>
                      <a:pt x="217" y="844"/>
                      <a:pt x="217" y="844"/>
                      <a:pt x="217" y="844"/>
                    </a:cubicBezTo>
                    <a:cubicBezTo>
                      <a:pt x="211" y="844"/>
                      <a:pt x="206" y="844"/>
                      <a:pt x="200" y="844"/>
                    </a:cubicBezTo>
                    <a:cubicBezTo>
                      <a:pt x="182" y="844"/>
                      <a:pt x="182" y="844"/>
                      <a:pt x="182" y="844"/>
                    </a:cubicBezTo>
                    <a:cubicBezTo>
                      <a:pt x="178" y="844"/>
                      <a:pt x="173" y="844"/>
                      <a:pt x="169" y="843"/>
                    </a:cubicBezTo>
                    <a:cubicBezTo>
                      <a:pt x="159" y="842"/>
                      <a:pt x="150" y="840"/>
                      <a:pt x="141" y="836"/>
                    </a:cubicBezTo>
                    <a:cubicBezTo>
                      <a:pt x="123" y="830"/>
                      <a:pt x="106" y="819"/>
                      <a:pt x="93" y="806"/>
                    </a:cubicBezTo>
                    <a:cubicBezTo>
                      <a:pt x="79" y="792"/>
                      <a:pt x="70" y="777"/>
                      <a:pt x="68" y="762"/>
                    </a:cubicBezTo>
                    <a:cubicBezTo>
                      <a:pt x="68" y="760"/>
                      <a:pt x="68" y="758"/>
                      <a:pt x="68" y="756"/>
                    </a:cubicBezTo>
                    <a:cubicBezTo>
                      <a:pt x="68" y="755"/>
                      <a:pt x="68" y="754"/>
                      <a:pt x="68" y="754"/>
                    </a:cubicBezTo>
                    <a:cubicBezTo>
                      <a:pt x="67" y="749"/>
                      <a:pt x="67" y="749"/>
                      <a:pt x="67" y="749"/>
                    </a:cubicBezTo>
                    <a:cubicBezTo>
                      <a:pt x="68" y="731"/>
                      <a:pt x="68" y="731"/>
                      <a:pt x="68" y="731"/>
                    </a:cubicBezTo>
                    <a:cubicBezTo>
                      <a:pt x="68" y="696"/>
                      <a:pt x="68" y="696"/>
                      <a:pt x="68" y="696"/>
                    </a:cubicBezTo>
                    <a:cubicBezTo>
                      <a:pt x="68" y="672"/>
                      <a:pt x="68" y="648"/>
                      <a:pt x="68" y="624"/>
                    </a:cubicBezTo>
                    <a:cubicBezTo>
                      <a:pt x="68" y="438"/>
                      <a:pt x="68" y="73"/>
                      <a:pt x="68" y="69"/>
                    </a:cubicBezTo>
                    <a:cubicBezTo>
                      <a:pt x="68" y="65"/>
                      <a:pt x="70" y="64"/>
                      <a:pt x="74" y="64"/>
                    </a:cubicBezTo>
                    <a:cubicBezTo>
                      <a:pt x="77" y="64"/>
                      <a:pt x="122" y="64"/>
                      <a:pt x="147" y="64"/>
                    </a:cubicBezTo>
                    <a:cubicBezTo>
                      <a:pt x="161" y="64"/>
                      <a:pt x="176" y="64"/>
                      <a:pt x="191" y="64"/>
                    </a:cubicBezTo>
                    <a:cubicBezTo>
                      <a:pt x="213" y="64"/>
                      <a:pt x="213" y="64"/>
                      <a:pt x="213" y="64"/>
                    </a:cubicBezTo>
                    <a:cubicBezTo>
                      <a:pt x="217" y="64"/>
                      <a:pt x="219" y="64"/>
                      <a:pt x="222" y="64"/>
                    </a:cubicBezTo>
                    <a:cubicBezTo>
                      <a:pt x="225" y="65"/>
                      <a:pt x="228" y="65"/>
                      <a:pt x="231" y="65"/>
                    </a:cubicBezTo>
                    <a:cubicBezTo>
                      <a:pt x="256" y="68"/>
                      <a:pt x="280" y="75"/>
                      <a:pt x="302" y="87"/>
                    </a:cubicBezTo>
                    <a:cubicBezTo>
                      <a:pt x="313" y="92"/>
                      <a:pt x="323" y="99"/>
                      <a:pt x="332" y="107"/>
                    </a:cubicBezTo>
                    <a:cubicBezTo>
                      <a:pt x="335" y="109"/>
                      <a:pt x="337" y="111"/>
                      <a:pt x="339" y="113"/>
                    </a:cubicBezTo>
                    <a:cubicBezTo>
                      <a:pt x="347" y="120"/>
                      <a:pt x="347" y="120"/>
                      <a:pt x="347" y="120"/>
                    </a:cubicBezTo>
                    <a:cubicBezTo>
                      <a:pt x="363" y="135"/>
                      <a:pt x="363" y="135"/>
                      <a:pt x="363" y="135"/>
                    </a:cubicBezTo>
                    <a:cubicBezTo>
                      <a:pt x="421" y="190"/>
                      <a:pt x="480" y="245"/>
                      <a:pt x="538" y="298"/>
                    </a:cubicBezTo>
                    <a:cubicBezTo>
                      <a:pt x="539" y="298"/>
                      <a:pt x="539" y="298"/>
                      <a:pt x="539" y="298"/>
                    </a:cubicBezTo>
                    <a:cubicBezTo>
                      <a:pt x="540" y="300"/>
                      <a:pt x="540" y="300"/>
                      <a:pt x="540" y="300"/>
                    </a:cubicBezTo>
                    <a:cubicBezTo>
                      <a:pt x="543" y="303"/>
                      <a:pt x="543" y="303"/>
                      <a:pt x="543" y="303"/>
                    </a:cubicBezTo>
                    <a:cubicBezTo>
                      <a:pt x="548" y="308"/>
                      <a:pt x="548" y="308"/>
                      <a:pt x="548" y="308"/>
                    </a:cubicBezTo>
                    <a:cubicBezTo>
                      <a:pt x="552" y="312"/>
                      <a:pt x="556" y="315"/>
                      <a:pt x="560" y="318"/>
                    </a:cubicBezTo>
                    <a:cubicBezTo>
                      <a:pt x="568" y="325"/>
                      <a:pt x="576" y="332"/>
                      <a:pt x="584" y="338"/>
                    </a:cubicBezTo>
                    <a:cubicBezTo>
                      <a:pt x="600" y="351"/>
                      <a:pt x="617" y="362"/>
                      <a:pt x="635" y="373"/>
                    </a:cubicBezTo>
                    <a:cubicBezTo>
                      <a:pt x="669" y="393"/>
                      <a:pt x="706" y="409"/>
                      <a:pt x="742" y="421"/>
                    </a:cubicBezTo>
                    <a:cubicBezTo>
                      <a:pt x="778" y="433"/>
                      <a:pt x="815" y="440"/>
                      <a:pt x="850" y="444"/>
                    </a:cubicBezTo>
                    <a:cubicBezTo>
                      <a:pt x="885" y="447"/>
                      <a:pt x="918" y="448"/>
                      <a:pt x="950" y="446"/>
                    </a:cubicBezTo>
                    <a:cubicBezTo>
                      <a:pt x="1014" y="441"/>
                      <a:pt x="1069" y="427"/>
                      <a:pt x="1113" y="409"/>
                    </a:cubicBezTo>
                    <a:cubicBezTo>
                      <a:pt x="1153" y="393"/>
                      <a:pt x="1190" y="373"/>
                      <a:pt x="1221" y="350"/>
                    </a:cubicBezTo>
                    <a:cubicBezTo>
                      <a:pt x="1237" y="339"/>
                      <a:pt x="1252" y="327"/>
                      <a:pt x="1266" y="314"/>
                    </a:cubicBezTo>
                    <a:cubicBezTo>
                      <a:pt x="1273" y="308"/>
                      <a:pt x="1280" y="302"/>
                      <a:pt x="1286" y="295"/>
                    </a:cubicBezTo>
                    <a:cubicBezTo>
                      <a:pt x="1293" y="289"/>
                      <a:pt x="1299" y="283"/>
                      <a:pt x="1305" y="277"/>
                    </a:cubicBezTo>
                    <a:cubicBezTo>
                      <a:pt x="1389" y="194"/>
                      <a:pt x="1455" y="129"/>
                      <a:pt x="1485" y="97"/>
                    </a:cubicBezTo>
                    <a:cubicBezTo>
                      <a:pt x="1500" y="82"/>
                      <a:pt x="1512" y="69"/>
                      <a:pt x="1523" y="58"/>
                    </a:cubicBezTo>
                    <a:cubicBezTo>
                      <a:pt x="1524" y="56"/>
                      <a:pt x="1525" y="55"/>
                      <a:pt x="1526" y="54"/>
                    </a:cubicBezTo>
                    <a:cubicBezTo>
                      <a:pt x="1527" y="53"/>
                      <a:pt x="1528" y="52"/>
                      <a:pt x="1529" y="50"/>
                    </a:cubicBezTo>
                    <a:cubicBezTo>
                      <a:pt x="1530" y="50"/>
                      <a:pt x="1530" y="49"/>
                      <a:pt x="1531" y="49"/>
                    </a:cubicBezTo>
                    <a:cubicBezTo>
                      <a:pt x="1531" y="48"/>
                      <a:pt x="1532" y="48"/>
                      <a:pt x="1532" y="48"/>
                    </a:cubicBezTo>
                    <a:cubicBezTo>
                      <a:pt x="1533" y="46"/>
                      <a:pt x="1546" y="39"/>
                      <a:pt x="1548" y="38"/>
                    </a:cubicBezTo>
                    <a:cubicBezTo>
                      <a:pt x="1548" y="37"/>
                      <a:pt x="1562" y="31"/>
                      <a:pt x="1564" y="30"/>
                    </a:cubicBezTo>
                    <a:cubicBezTo>
                      <a:pt x="1570" y="27"/>
                      <a:pt x="1557" y="23"/>
                      <a:pt x="1548" y="23"/>
                    </a:cubicBezTo>
                    <a:cubicBezTo>
                      <a:pt x="1538" y="23"/>
                      <a:pt x="1527" y="27"/>
                      <a:pt x="1524" y="29"/>
                    </a:cubicBezTo>
                    <a:cubicBezTo>
                      <a:pt x="1517" y="33"/>
                      <a:pt x="1509" y="42"/>
                      <a:pt x="1503" y="46"/>
                    </a:cubicBezTo>
                    <a:cubicBezTo>
                      <a:pt x="1495" y="53"/>
                      <a:pt x="1485" y="61"/>
                      <a:pt x="1474" y="70"/>
                    </a:cubicBezTo>
                    <a:cubicBezTo>
                      <a:pt x="1445" y="94"/>
                      <a:pt x="1362" y="170"/>
                      <a:pt x="1256" y="268"/>
                    </a:cubicBezTo>
                    <a:cubicBezTo>
                      <a:pt x="1252" y="271"/>
                      <a:pt x="1249" y="274"/>
                      <a:pt x="1246" y="277"/>
                    </a:cubicBezTo>
                    <a:cubicBezTo>
                      <a:pt x="1243" y="280"/>
                      <a:pt x="1239" y="283"/>
                      <a:pt x="1236" y="285"/>
                    </a:cubicBezTo>
                    <a:cubicBezTo>
                      <a:pt x="1229" y="291"/>
                      <a:pt x="1222" y="297"/>
                      <a:pt x="1215" y="302"/>
                    </a:cubicBezTo>
                    <a:cubicBezTo>
                      <a:pt x="1201" y="313"/>
                      <a:pt x="1185" y="323"/>
                      <a:pt x="1169" y="332"/>
                    </a:cubicBezTo>
                    <a:cubicBezTo>
                      <a:pt x="1136" y="351"/>
                      <a:pt x="1100" y="366"/>
                      <a:pt x="1062" y="377"/>
                    </a:cubicBezTo>
                    <a:cubicBezTo>
                      <a:pt x="987" y="398"/>
                      <a:pt x="904" y="402"/>
                      <a:pt x="827" y="387"/>
                    </a:cubicBezTo>
                    <a:cubicBezTo>
                      <a:pt x="758" y="374"/>
                      <a:pt x="692" y="347"/>
                      <a:pt x="636" y="306"/>
                    </a:cubicBezTo>
                    <a:cubicBezTo>
                      <a:pt x="622" y="296"/>
                      <a:pt x="608" y="285"/>
                      <a:pt x="596" y="273"/>
                    </a:cubicBezTo>
                    <a:cubicBezTo>
                      <a:pt x="593" y="270"/>
                      <a:pt x="589" y="267"/>
                      <a:pt x="586" y="264"/>
                    </a:cubicBezTo>
                    <a:cubicBezTo>
                      <a:pt x="582" y="259"/>
                      <a:pt x="582" y="259"/>
                      <a:pt x="582" y="259"/>
                    </a:cubicBezTo>
                    <a:cubicBezTo>
                      <a:pt x="579" y="257"/>
                      <a:pt x="579" y="257"/>
                      <a:pt x="579" y="257"/>
                    </a:cubicBezTo>
                    <a:cubicBezTo>
                      <a:pt x="576" y="254"/>
                      <a:pt x="576" y="254"/>
                      <a:pt x="576" y="254"/>
                    </a:cubicBezTo>
                    <a:cubicBezTo>
                      <a:pt x="556" y="235"/>
                      <a:pt x="556" y="235"/>
                      <a:pt x="556" y="235"/>
                    </a:cubicBezTo>
                    <a:cubicBezTo>
                      <a:pt x="530" y="210"/>
                      <a:pt x="504" y="185"/>
                      <a:pt x="477" y="159"/>
                    </a:cubicBezTo>
                    <a:cubicBezTo>
                      <a:pt x="450" y="134"/>
                      <a:pt x="424" y="108"/>
                      <a:pt x="397" y="83"/>
                    </a:cubicBezTo>
                    <a:cubicBezTo>
                      <a:pt x="387" y="73"/>
                      <a:pt x="387" y="73"/>
                      <a:pt x="387" y="73"/>
                    </a:cubicBezTo>
                    <a:cubicBezTo>
                      <a:pt x="382" y="68"/>
                      <a:pt x="382" y="68"/>
                      <a:pt x="382" y="68"/>
                    </a:cubicBezTo>
                    <a:cubicBezTo>
                      <a:pt x="380" y="66"/>
                      <a:pt x="378" y="64"/>
                      <a:pt x="376" y="63"/>
                    </a:cubicBezTo>
                    <a:cubicBezTo>
                      <a:pt x="368" y="56"/>
                      <a:pt x="360" y="50"/>
                      <a:pt x="351" y="44"/>
                    </a:cubicBezTo>
                    <a:cubicBezTo>
                      <a:pt x="334" y="32"/>
                      <a:pt x="315" y="22"/>
                      <a:pt x="295" y="15"/>
                    </a:cubicBezTo>
                    <a:cubicBezTo>
                      <a:pt x="275" y="8"/>
                      <a:pt x="254" y="4"/>
                      <a:pt x="233" y="2"/>
                    </a:cubicBezTo>
                    <a:cubicBezTo>
                      <a:pt x="230" y="2"/>
                      <a:pt x="228" y="1"/>
                      <a:pt x="225" y="1"/>
                    </a:cubicBezTo>
                    <a:cubicBezTo>
                      <a:pt x="221" y="1"/>
                      <a:pt x="221" y="1"/>
                      <a:pt x="221" y="1"/>
                    </a:cubicBezTo>
                    <a:cubicBezTo>
                      <a:pt x="217" y="1"/>
                      <a:pt x="217" y="1"/>
                      <a:pt x="217" y="1"/>
                    </a:cubicBezTo>
                    <a:cubicBezTo>
                      <a:pt x="202" y="1"/>
                      <a:pt x="202" y="1"/>
                      <a:pt x="202" y="1"/>
                    </a:cubicBezTo>
                    <a:cubicBezTo>
                      <a:pt x="193" y="1"/>
                      <a:pt x="184" y="1"/>
                      <a:pt x="174" y="1"/>
                    </a:cubicBezTo>
                    <a:cubicBezTo>
                      <a:pt x="132" y="0"/>
                      <a:pt x="87" y="0"/>
                      <a:pt x="46" y="0"/>
                    </a:cubicBezTo>
                    <a:cubicBezTo>
                      <a:pt x="5" y="0"/>
                      <a:pt x="3" y="30"/>
                      <a:pt x="3" y="42"/>
                    </a:cubicBezTo>
                    <a:cubicBezTo>
                      <a:pt x="3" y="54"/>
                      <a:pt x="3" y="121"/>
                      <a:pt x="3" y="162"/>
                    </a:cubicBezTo>
                    <a:cubicBezTo>
                      <a:pt x="2" y="262"/>
                      <a:pt x="2" y="363"/>
                      <a:pt x="1" y="470"/>
                    </a:cubicBezTo>
                    <a:cubicBezTo>
                      <a:pt x="1" y="520"/>
                      <a:pt x="1" y="572"/>
                      <a:pt x="0" y="625"/>
                    </a:cubicBezTo>
                    <a:cubicBezTo>
                      <a:pt x="0" y="652"/>
                      <a:pt x="0" y="678"/>
                      <a:pt x="0" y="705"/>
                    </a:cubicBezTo>
                    <a:cubicBezTo>
                      <a:pt x="0" y="719"/>
                      <a:pt x="0" y="732"/>
                      <a:pt x="0" y="746"/>
                    </a:cubicBezTo>
                    <a:cubicBezTo>
                      <a:pt x="0" y="751"/>
                      <a:pt x="0" y="751"/>
                      <a:pt x="0" y="751"/>
                    </a:cubicBezTo>
                    <a:cubicBezTo>
                      <a:pt x="0" y="754"/>
                      <a:pt x="0" y="754"/>
                      <a:pt x="0" y="754"/>
                    </a:cubicBezTo>
                    <a:cubicBezTo>
                      <a:pt x="0" y="757"/>
                      <a:pt x="0" y="757"/>
                      <a:pt x="0" y="757"/>
                    </a:cubicBezTo>
                    <a:cubicBezTo>
                      <a:pt x="0" y="762"/>
                      <a:pt x="1" y="766"/>
                      <a:pt x="1" y="771"/>
                    </a:cubicBezTo>
                    <a:cubicBezTo>
                      <a:pt x="3" y="780"/>
                      <a:pt x="5" y="789"/>
                      <a:pt x="8" y="798"/>
                    </a:cubicBezTo>
                    <a:cubicBezTo>
                      <a:pt x="15" y="815"/>
                      <a:pt x="24" y="830"/>
                      <a:pt x="35" y="843"/>
                    </a:cubicBezTo>
                    <a:cubicBezTo>
                      <a:pt x="47" y="856"/>
                      <a:pt x="59" y="867"/>
                      <a:pt x="73" y="877"/>
                    </a:cubicBezTo>
                    <a:cubicBezTo>
                      <a:pt x="87" y="886"/>
                      <a:pt x="101" y="893"/>
                      <a:pt x="117" y="899"/>
                    </a:cubicBezTo>
                    <a:cubicBezTo>
                      <a:pt x="132" y="905"/>
                      <a:pt x="149" y="909"/>
                      <a:pt x="166" y="911"/>
                    </a:cubicBezTo>
                    <a:cubicBezTo>
                      <a:pt x="170" y="912"/>
                      <a:pt x="175" y="912"/>
                      <a:pt x="179" y="912"/>
                    </a:cubicBezTo>
                    <a:cubicBezTo>
                      <a:pt x="191" y="912"/>
                      <a:pt x="191" y="912"/>
                      <a:pt x="191" y="912"/>
                    </a:cubicBezTo>
                    <a:cubicBezTo>
                      <a:pt x="198" y="912"/>
                      <a:pt x="205" y="912"/>
                      <a:pt x="212" y="912"/>
                    </a:cubicBezTo>
                    <a:cubicBezTo>
                      <a:pt x="224" y="912"/>
                      <a:pt x="224" y="912"/>
                      <a:pt x="224" y="912"/>
                    </a:cubicBezTo>
                    <a:cubicBezTo>
                      <a:pt x="229" y="911"/>
                      <a:pt x="229" y="911"/>
                      <a:pt x="229" y="911"/>
                    </a:cubicBezTo>
                    <a:cubicBezTo>
                      <a:pt x="234" y="911"/>
                      <a:pt x="234" y="911"/>
                      <a:pt x="234" y="911"/>
                    </a:cubicBezTo>
                    <a:cubicBezTo>
                      <a:pt x="239" y="911"/>
                      <a:pt x="239" y="911"/>
                      <a:pt x="239" y="911"/>
                    </a:cubicBezTo>
                    <a:cubicBezTo>
                      <a:pt x="252" y="909"/>
                      <a:pt x="265" y="908"/>
                      <a:pt x="275" y="901"/>
                    </a:cubicBezTo>
                    <a:cubicBezTo>
                      <a:pt x="280" y="899"/>
                      <a:pt x="285" y="894"/>
                      <a:pt x="289" y="889"/>
                    </a:cubicBezTo>
                    <a:cubicBezTo>
                      <a:pt x="292" y="885"/>
                      <a:pt x="295" y="879"/>
                      <a:pt x="297" y="874"/>
                    </a:cubicBezTo>
                    <a:cubicBezTo>
                      <a:pt x="297" y="871"/>
                      <a:pt x="298" y="868"/>
                      <a:pt x="299" y="865"/>
                    </a:cubicBezTo>
                    <a:cubicBezTo>
                      <a:pt x="299" y="861"/>
                      <a:pt x="299" y="858"/>
                      <a:pt x="299" y="855"/>
                    </a:cubicBezTo>
                    <a:cubicBezTo>
                      <a:pt x="299" y="836"/>
                      <a:pt x="299" y="836"/>
                      <a:pt x="299" y="836"/>
                    </a:cubicBezTo>
                    <a:cubicBezTo>
                      <a:pt x="299" y="822"/>
                      <a:pt x="299" y="808"/>
                      <a:pt x="299" y="794"/>
                    </a:cubicBezTo>
                    <a:cubicBezTo>
                      <a:pt x="299" y="737"/>
                      <a:pt x="299" y="680"/>
                      <a:pt x="299" y="623"/>
                    </a:cubicBezTo>
                    <a:cubicBezTo>
                      <a:pt x="300" y="602"/>
                      <a:pt x="300" y="602"/>
                      <a:pt x="300" y="602"/>
                    </a:cubicBezTo>
                    <a:cubicBezTo>
                      <a:pt x="300" y="597"/>
                      <a:pt x="300" y="592"/>
                      <a:pt x="301" y="587"/>
                    </a:cubicBezTo>
                    <a:cubicBezTo>
                      <a:pt x="303" y="577"/>
                      <a:pt x="307" y="568"/>
                      <a:pt x="313" y="559"/>
                    </a:cubicBezTo>
                    <a:cubicBezTo>
                      <a:pt x="324" y="542"/>
                      <a:pt x="341" y="529"/>
                      <a:pt x="360" y="524"/>
                    </a:cubicBezTo>
                    <a:cubicBezTo>
                      <a:pt x="365" y="522"/>
                      <a:pt x="370" y="521"/>
                      <a:pt x="375" y="521"/>
                    </a:cubicBezTo>
                    <a:cubicBezTo>
                      <a:pt x="377" y="521"/>
                      <a:pt x="379" y="521"/>
                      <a:pt x="382" y="521"/>
                    </a:cubicBezTo>
                    <a:cubicBezTo>
                      <a:pt x="385" y="521"/>
                      <a:pt x="388" y="521"/>
                      <a:pt x="391" y="521"/>
                    </a:cubicBezTo>
                    <a:cubicBezTo>
                      <a:pt x="403" y="521"/>
                      <a:pt x="415" y="523"/>
                      <a:pt x="426" y="526"/>
                    </a:cubicBezTo>
                    <a:cubicBezTo>
                      <a:pt x="450" y="532"/>
                      <a:pt x="472" y="543"/>
                      <a:pt x="494" y="557"/>
                    </a:cubicBezTo>
                    <a:cubicBezTo>
                      <a:pt x="516" y="571"/>
                      <a:pt x="537" y="588"/>
                      <a:pt x="557" y="606"/>
                    </a:cubicBezTo>
                    <a:cubicBezTo>
                      <a:pt x="578" y="623"/>
                      <a:pt x="598" y="643"/>
                      <a:pt x="619" y="662"/>
                    </a:cubicBezTo>
                    <a:cubicBezTo>
                      <a:pt x="629" y="672"/>
                      <a:pt x="640" y="682"/>
                      <a:pt x="650" y="690"/>
                    </a:cubicBezTo>
                    <a:cubicBezTo>
                      <a:pt x="661" y="700"/>
                      <a:pt x="671" y="709"/>
                      <a:pt x="681" y="718"/>
                    </a:cubicBezTo>
                    <a:cubicBezTo>
                      <a:pt x="702" y="737"/>
                      <a:pt x="722" y="756"/>
                      <a:pt x="744" y="774"/>
                    </a:cubicBezTo>
                    <a:cubicBezTo>
                      <a:pt x="766" y="792"/>
                      <a:pt x="790" y="810"/>
                      <a:pt x="816" y="824"/>
                    </a:cubicBezTo>
                    <a:cubicBezTo>
                      <a:pt x="830" y="832"/>
                      <a:pt x="844" y="838"/>
                      <a:pt x="859" y="843"/>
                    </a:cubicBezTo>
                    <a:cubicBezTo>
                      <a:pt x="874" y="848"/>
                      <a:pt x="890" y="851"/>
                      <a:pt x="907" y="852"/>
                    </a:cubicBezTo>
                    <a:cubicBezTo>
                      <a:pt x="923" y="853"/>
                      <a:pt x="939" y="852"/>
                      <a:pt x="955" y="849"/>
                    </a:cubicBezTo>
                    <a:cubicBezTo>
                      <a:pt x="970" y="846"/>
                      <a:pt x="985" y="841"/>
                      <a:pt x="999" y="835"/>
                    </a:cubicBezTo>
                    <a:cubicBezTo>
                      <a:pt x="1027" y="822"/>
                      <a:pt x="1050" y="806"/>
                      <a:pt x="1072" y="790"/>
                    </a:cubicBezTo>
                    <a:cubicBezTo>
                      <a:pt x="1093" y="773"/>
                      <a:pt x="1113" y="756"/>
                      <a:pt x="1131" y="739"/>
                    </a:cubicBezTo>
                    <a:cubicBezTo>
                      <a:pt x="1150" y="722"/>
                      <a:pt x="1168" y="705"/>
                      <a:pt x="1186" y="689"/>
                    </a:cubicBezTo>
                    <a:cubicBezTo>
                      <a:pt x="1191" y="685"/>
                      <a:pt x="1195" y="681"/>
                      <a:pt x="1199" y="677"/>
                    </a:cubicBezTo>
                    <a:cubicBezTo>
                      <a:pt x="1204" y="673"/>
                      <a:pt x="1209" y="668"/>
                      <a:pt x="1213" y="664"/>
                    </a:cubicBezTo>
                    <a:cubicBezTo>
                      <a:pt x="1222" y="656"/>
                      <a:pt x="1231" y="648"/>
                      <a:pt x="1239" y="639"/>
                    </a:cubicBezTo>
                    <a:cubicBezTo>
                      <a:pt x="1256" y="623"/>
                      <a:pt x="1273" y="608"/>
                      <a:pt x="1290" y="593"/>
                    </a:cubicBezTo>
                    <a:cubicBezTo>
                      <a:pt x="1323" y="564"/>
                      <a:pt x="1357" y="541"/>
                      <a:pt x="1392" y="527"/>
                    </a:cubicBezTo>
                    <a:cubicBezTo>
                      <a:pt x="1410" y="521"/>
                      <a:pt x="1427" y="517"/>
                      <a:pt x="1445" y="515"/>
                    </a:cubicBezTo>
                    <a:cubicBezTo>
                      <a:pt x="1449" y="515"/>
                      <a:pt x="1454" y="515"/>
                      <a:pt x="1458" y="515"/>
                    </a:cubicBezTo>
                    <a:cubicBezTo>
                      <a:pt x="1461" y="515"/>
                      <a:pt x="1465" y="515"/>
                      <a:pt x="1469" y="515"/>
                    </a:cubicBezTo>
                    <a:cubicBezTo>
                      <a:pt x="1476" y="516"/>
                      <a:pt x="1483" y="518"/>
                      <a:pt x="1490" y="521"/>
                    </a:cubicBezTo>
                    <a:cubicBezTo>
                      <a:pt x="1504" y="527"/>
                      <a:pt x="1516" y="536"/>
                      <a:pt x="1525" y="546"/>
                    </a:cubicBezTo>
                    <a:cubicBezTo>
                      <a:pt x="1534" y="557"/>
                      <a:pt x="1540" y="570"/>
                      <a:pt x="1544" y="583"/>
                    </a:cubicBezTo>
                    <a:cubicBezTo>
                      <a:pt x="1546" y="589"/>
                      <a:pt x="1546" y="596"/>
                      <a:pt x="1547" y="602"/>
                    </a:cubicBezTo>
                    <a:cubicBezTo>
                      <a:pt x="1547" y="611"/>
                      <a:pt x="1547" y="619"/>
                      <a:pt x="1547" y="627"/>
                    </a:cubicBezTo>
                    <a:cubicBezTo>
                      <a:pt x="1547" y="644"/>
                      <a:pt x="1548" y="660"/>
                      <a:pt x="1548" y="675"/>
                    </a:cubicBezTo>
                    <a:cubicBezTo>
                      <a:pt x="1548" y="691"/>
                      <a:pt x="1548" y="706"/>
                      <a:pt x="1549" y="721"/>
                    </a:cubicBezTo>
                    <a:cubicBezTo>
                      <a:pt x="1549" y="728"/>
                      <a:pt x="1549" y="736"/>
                      <a:pt x="1549" y="743"/>
                    </a:cubicBezTo>
                    <a:cubicBezTo>
                      <a:pt x="1549" y="746"/>
                      <a:pt x="1549" y="750"/>
                      <a:pt x="1549" y="754"/>
                    </a:cubicBezTo>
                    <a:cubicBezTo>
                      <a:pt x="1549" y="758"/>
                      <a:pt x="1550" y="762"/>
                      <a:pt x="1550" y="767"/>
                    </a:cubicBezTo>
                    <a:cubicBezTo>
                      <a:pt x="1553" y="784"/>
                      <a:pt x="1559" y="799"/>
                      <a:pt x="1566" y="812"/>
                    </a:cubicBezTo>
                    <a:cubicBezTo>
                      <a:pt x="1574" y="825"/>
                      <a:pt x="1583" y="835"/>
                      <a:pt x="1593" y="844"/>
                    </a:cubicBezTo>
                    <a:cubicBezTo>
                      <a:pt x="1611" y="862"/>
                      <a:pt x="1632" y="874"/>
                      <a:pt x="1651" y="882"/>
                    </a:cubicBezTo>
                    <a:cubicBezTo>
                      <a:pt x="1670" y="890"/>
                      <a:pt x="1689" y="894"/>
                      <a:pt x="1707" y="896"/>
                    </a:cubicBezTo>
                    <a:cubicBezTo>
                      <a:pt x="1716" y="897"/>
                      <a:pt x="1726" y="897"/>
                      <a:pt x="1733" y="896"/>
                    </a:cubicBezTo>
                    <a:cubicBezTo>
                      <a:pt x="1741" y="896"/>
                      <a:pt x="1748" y="896"/>
                      <a:pt x="1755" y="895"/>
                    </a:cubicBezTo>
                    <a:cubicBezTo>
                      <a:pt x="1759" y="895"/>
                      <a:pt x="1762" y="894"/>
                      <a:pt x="1766" y="894"/>
                    </a:cubicBezTo>
                    <a:cubicBezTo>
                      <a:pt x="1768" y="894"/>
                      <a:pt x="1770" y="894"/>
                      <a:pt x="1772" y="894"/>
                    </a:cubicBezTo>
                    <a:cubicBezTo>
                      <a:pt x="1774" y="893"/>
                      <a:pt x="1777" y="893"/>
                      <a:pt x="1779" y="893"/>
                    </a:cubicBezTo>
                    <a:cubicBezTo>
                      <a:pt x="1789" y="892"/>
                      <a:pt x="1797" y="890"/>
                      <a:pt x="1805" y="886"/>
                    </a:cubicBezTo>
                    <a:cubicBezTo>
                      <a:pt x="1808" y="884"/>
                      <a:pt x="1811" y="881"/>
                      <a:pt x="1814" y="878"/>
                    </a:cubicBezTo>
                    <a:cubicBezTo>
                      <a:pt x="1816" y="874"/>
                      <a:pt x="1817" y="870"/>
                      <a:pt x="1818" y="866"/>
                    </a:cubicBezTo>
                    <a:cubicBezTo>
                      <a:pt x="1820" y="858"/>
                      <a:pt x="1819" y="850"/>
                      <a:pt x="1819" y="841"/>
                    </a:cubicBezTo>
                    <a:close/>
                    <a:moveTo>
                      <a:pt x="1809" y="865"/>
                    </a:moveTo>
                    <a:cubicBezTo>
                      <a:pt x="1808" y="868"/>
                      <a:pt x="1807" y="872"/>
                      <a:pt x="1804" y="874"/>
                    </a:cubicBezTo>
                    <a:cubicBezTo>
                      <a:pt x="1803" y="876"/>
                      <a:pt x="1801" y="877"/>
                      <a:pt x="1799" y="878"/>
                    </a:cubicBezTo>
                    <a:cubicBezTo>
                      <a:pt x="1798" y="879"/>
                      <a:pt x="1796" y="879"/>
                      <a:pt x="1794" y="880"/>
                    </a:cubicBezTo>
                    <a:cubicBezTo>
                      <a:pt x="1787" y="882"/>
                      <a:pt x="1779" y="883"/>
                      <a:pt x="1771" y="884"/>
                    </a:cubicBezTo>
                    <a:cubicBezTo>
                      <a:pt x="1767" y="884"/>
                      <a:pt x="1763" y="884"/>
                      <a:pt x="1760" y="884"/>
                    </a:cubicBezTo>
                    <a:cubicBezTo>
                      <a:pt x="1756" y="885"/>
                      <a:pt x="1753" y="885"/>
                      <a:pt x="1749" y="885"/>
                    </a:cubicBezTo>
                    <a:cubicBezTo>
                      <a:pt x="1742" y="885"/>
                      <a:pt x="1735" y="886"/>
                      <a:pt x="1727" y="886"/>
                    </a:cubicBezTo>
                    <a:cubicBezTo>
                      <a:pt x="1720" y="886"/>
                      <a:pt x="1712" y="886"/>
                      <a:pt x="1704" y="885"/>
                    </a:cubicBezTo>
                    <a:cubicBezTo>
                      <a:pt x="1689" y="883"/>
                      <a:pt x="1674" y="879"/>
                      <a:pt x="1660" y="873"/>
                    </a:cubicBezTo>
                    <a:cubicBezTo>
                      <a:pt x="1632" y="862"/>
                      <a:pt x="1606" y="845"/>
                      <a:pt x="1588" y="823"/>
                    </a:cubicBezTo>
                    <a:cubicBezTo>
                      <a:pt x="1577" y="810"/>
                      <a:pt x="1568" y="795"/>
                      <a:pt x="1563" y="778"/>
                    </a:cubicBezTo>
                    <a:cubicBezTo>
                      <a:pt x="1562" y="773"/>
                      <a:pt x="1561" y="769"/>
                      <a:pt x="1561" y="765"/>
                    </a:cubicBezTo>
                    <a:cubicBezTo>
                      <a:pt x="1560" y="762"/>
                      <a:pt x="1560" y="760"/>
                      <a:pt x="1560" y="758"/>
                    </a:cubicBezTo>
                    <a:cubicBezTo>
                      <a:pt x="1560" y="756"/>
                      <a:pt x="1560" y="753"/>
                      <a:pt x="1560" y="751"/>
                    </a:cubicBezTo>
                    <a:cubicBezTo>
                      <a:pt x="1560" y="743"/>
                      <a:pt x="1559" y="736"/>
                      <a:pt x="1559" y="728"/>
                    </a:cubicBezTo>
                    <a:cubicBezTo>
                      <a:pt x="1558" y="696"/>
                      <a:pt x="1557" y="663"/>
                      <a:pt x="1556" y="628"/>
                    </a:cubicBezTo>
                    <a:cubicBezTo>
                      <a:pt x="1556" y="620"/>
                      <a:pt x="1556" y="611"/>
                      <a:pt x="1556" y="602"/>
                    </a:cubicBezTo>
                    <a:cubicBezTo>
                      <a:pt x="1555" y="594"/>
                      <a:pt x="1554" y="586"/>
                      <a:pt x="1552" y="578"/>
                    </a:cubicBezTo>
                    <a:cubicBezTo>
                      <a:pt x="1547" y="563"/>
                      <a:pt x="1539" y="548"/>
                      <a:pt x="1526" y="535"/>
                    </a:cubicBezTo>
                    <a:cubicBezTo>
                      <a:pt x="1513" y="523"/>
                      <a:pt x="1497" y="513"/>
                      <a:pt x="1478" y="509"/>
                    </a:cubicBezTo>
                    <a:cubicBezTo>
                      <a:pt x="1473" y="508"/>
                      <a:pt x="1468" y="507"/>
                      <a:pt x="1464" y="507"/>
                    </a:cubicBezTo>
                    <a:cubicBezTo>
                      <a:pt x="1461" y="507"/>
                      <a:pt x="1459" y="507"/>
                      <a:pt x="1456" y="507"/>
                    </a:cubicBezTo>
                    <a:cubicBezTo>
                      <a:pt x="1453" y="507"/>
                      <a:pt x="1450" y="507"/>
                      <a:pt x="1448" y="507"/>
                    </a:cubicBezTo>
                    <a:cubicBezTo>
                      <a:pt x="1437" y="508"/>
                      <a:pt x="1425" y="510"/>
                      <a:pt x="1414" y="513"/>
                    </a:cubicBezTo>
                    <a:cubicBezTo>
                      <a:pt x="1390" y="519"/>
                      <a:pt x="1367" y="529"/>
                      <a:pt x="1344" y="544"/>
                    </a:cubicBezTo>
                    <a:cubicBezTo>
                      <a:pt x="1320" y="558"/>
                      <a:pt x="1298" y="577"/>
                      <a:pt x="1275" y="597"/>
                    </a:cubicBezTo>
                    <a:cubicBezTo>
                      <a:pt x="1251" y="619"/>
                      <a:pt x="1227" y="643"/>
                      <a:pt x="1200" y="668"/>
                    </a:cubicBezTo>
                    <a:cubicBezTo>
                      <a:pt x="1193" y="674"/>
                      <a:pt x="1186" y="680"/>
                      <a:pt x="1180" y="686"/>
                    </a:cubicBezTo>
                    <a:cubicBezTo>
                      <a:pt x="1173" y="692"/>
                      <a:pt x="1166" y="698"/>
                      <a:pt x="1159" y="705"/>
                    </a:cubicBezTo>
                    <a:cubicBezTo>
                      <a:pt x="1146" y="717"/>
                      <a:pt x="1132" y="730"/>
                      <a:pt x="1118" y="743"/>
                    </a:cubicBezTo>
                    <a:cubicBezTo>
                      <a:pt x="1103" y="756"/>
                      <a:pt x="1088" y="769"/>
                      <a:pt x="1072" y="782"/>
                    </a:cubicBezTo>
                    <a:cubicBezTo>
                      <a:pt x="1056" y="794"/>
                      <a:pt x="1039" y="807"/>
                      <a:pt x="1020" y="818"/>
                    </a:cubicBezTo>
                    <a:cubicBezTo>
                      <a:pt x="1001" y="828"/>
                      <a:pt x="980" y="838"/>
                      <a:pt x="956" y="843"/>
                    </a:cubicBezTo>
                    <a:cubicBezTo>
                      <a:pt x="933" y="848"/>
                      <a:pt x="907" y="848"/>
                      <a:pt x="883" y="843"/>
                    </a:cubicBezTo>
                    <a:cubicBezTo>
                      <a:pt x="859" y="839"/>
                      <a:pt x="836" y="829"/>
                      <a:pt x="816" y="818"/>
                    </a:cubicBezTo>
                    <a:cubicBezTo>
                      <a:pt x="796" y="806"/>
                      <a:pt x="777" y="793"/>
                      <a:pt x="759" y="779"/>
                    </a:cubicBezTo>
                    <a:cubicBezTo>
                      <a:pt x="724" y="751"/>
                      <a:pt x="692" y="720"/>
                      <a:pt x="658" y="691"/>
                    </a:cubicBezTo>
                    <a:cubicBezTo>
                      <a:pt x="650" y="683"/>
                      <a:pt x="642" y="676"/>
                      <a:pt x="633" y="669"/>
                    </a:cubicBezTo>
                    <a:cubicBezTo>
                      <a:pt x="625" y="661"/>
                      <a:pt x="616" y="653"/>
                      <a:pt x="608" y="645"/>
                    </a:cubicBezTo>
                    <a:cubicBezTo>
                      <a:pt x="592" y="630"/>
                      <a:pt x="575" y="615"/>
                      <a:pt x="559" y="600"/>
                    </a:cubicBezTo>
                    <a:cubicBezTo>
                      <a:pt x="525" y="571"/>
                      <a:pt x="490" y="545"/>
                      <a:pt x="452" y="530"/>
                    </a:cubicBezTo>
                    <a:cubicBezTo>
                      <a:pt x="433" y="522"/>
                      <a:pt x="414" y="518"/>
                      <a:pt x="394" y="516"/>
                    </a:cubicBezTo>
                    <a:cubicBezTo>
                      <a:pt x="391" y="516"/>
                      <a:pt x="389" y="516"/>
                      <a:pt x="386" y="516"/>
                    </a:cubicBezTo>
                    <a:cubicBezTo>
                      <a:pt x="384" y="516"/>
                      <a:pt x="381" y="516"/>
                      <a:pt x="379" y="516"/>
                    </a:cubicBezTo>
                    <a:cubicBezTo>
                      <a:pt x="375" y="516"/>
                      <a:pt x="370" y="516"/>
                      <a:pt x="366" y="517"/>
                    </a:cubicBezTo>
                    <a:cubicBezTo>
                      <a:pt x="358" y="519"/>
                      <a:pt x="350" y="522"/>
                      <a:pt x="342" y="526"/>
                    </a:cubicBezTo>
                    <a:cubicBezTo>
                      <a:pt x="327" y="534"/>
                      <a:pt x="313" y="547"/>
                      <a:pt x="305" y="563"/>
                    </a:cubicBezTo>
                    <a:cubicBezTo>
                      <a:pt x="301" y="570"/>
                      <a:pt x="298" y="579"/>
                      <a:pt x="296" y="587"/>
                    </a:cubicBezTo>
                    <a:cubicBezTo>
                      <a:pt x="296" y="592"/>
                      <a:pt x="295" y="596"/>
                      <a:pt x="295" y="600"/>
                    </a:cubicBezTo>
                    <a:cubicBezTo>
                      <a:pt x="295" y="602"/>
                      <a:pt x="295" y="603"/>
                      <a:pt x="295" y="604"/>
                    </a:cubicBezTo>
                    <a:cubicBezTo>
                      <a:pt x="295" y="608"/>
                      <a:pt x="295" y="608"/>
                      <a:pt x="295" y="608"/>
                    </a:cubicBezTo>
                    <a:cubicBezTo>
                      <a:pt x="295" y="617"/>
                      <a:pt x="295" y="617"/>
                      <a:pt x="295" y="617"/>
                    </a:cubicBezTo>
                    <a:cubicBezTo>
                      <a:pt x="295" y="664"/>
                      <a:pt x="295" y="711"/>
                      <a:pt x="295" y="759"/>
                    </a:cubicBezTo>
                    <a:cubicBezTo>
                      <a:pt x="295" y="782"/>
                      <a:pt x="295" y="806"/>
                      <a:pt x="295" y="829"/>
                    </a:cubicBezTo>
                    <a:cubicBezTo>
                      <a:pt x="295" y="839"/>
                      <a:pt x="295" y="839"/>
                      <a:pt x="295" y="839"/>
                    </a:cubicBezTo>
                    <a:cubicBezTo>
                      <a:pt x="294" y="854"/>
                      <a:pt x="294" y="854"/>
                      <a:pt x="294" y="854"/>
                    </a:cubicBezTo>
                    <a:cubicBezTo>
                      <a:pt x="294" y="857"/>
                      <a:pt x="294" y="859"/>
                      <a:pt x="294" y="862"/>
                    </a:cubicBezTo>
                    <a:cubicBezTo>
                      <a:pt x="294" y="864"/>
                      <a:pt x="294" y="867"/>
                      <a:pt x="293" y="869"/>
                    </a:cubicBezTo>
                    <a:cubicBezTo>
                      <a:pt x="292" y="874"/>
                      <a:pt x="290" y="878"/>
                      <a:pt x="288" y="882"/>
                    </a:cubicBezTo>
                    <a:cubicBezTo>
                      <a:pt x="286" y="886"/>
                      <a:pt x="283" y="890"/>
                      <a:pt x="279" y="893"/>
                    </a:cubicBezTo>
                    <a:cubicBezTo>
                      <a:pt x="275" y="896"/>
                      <a:pt x="271" y="899"/>
                      <a:pt x="267" y="901"/>
                    </a:cubicBezTo>
                    <a:cubicBezTo>
                      <a:pt x="258" y="904"/>
                      <a:pt x="248" y="905"/>
                      <a:pt x="237" y="906"/>
                    </a:cubicBezTo>
                    <a:cubicBezTo>
                      <a:pt x="235" y="907"/>
                      <a:pt x="232" y="907"/>
                      <a:pt x="230" y="907"/>
                    </a:cubicBezTo>
                    <a:cubicBezTo>
                      <a:pt x="225" y="907"/>
                      <a:pt x="225" y="907"/>
                      <a:pt x="225" y="907"/>
                    </a:cubicBezTo>
                    <a:cubicBezTo>
                      <a:pt x="215" y="907"/>
                      <a:pt x="215" y="907"/>
                      <a:pt x="215" y="907"/>
                    </a:cubicBezTo>
                    <a:cubicBezTo>
                      <a:pt x="209" y="908"/>
                      <a:pt x="203" y="908"/>
                      <a:pt x="197" y="908"/>
                    </a:cubicBezTo>
                    <a:cubicBezTo>
                      <a:pt x="188" y="908"/>
                      <a:pt x="188" y="908"/>
                      <a:pt x="188" y="908"/>
                    </a:cubicBezTo>
                    <a:cubicBezTo>
                      <a:pt x="179" y="908"/>
                      <a:pt x="179" y="908"/>
                      <a:pt x="179" y="908"/>
                    </a:cubicBezTo>
                    <a:cubicBezTo>
                      <a:pt x="171" y="907"/>
                      <a:pt x="164" y="907"/>
                      <a:pt x="157" y="906"/>
                    </a:cubicBezTo>
                    <a:cubicBezTo>
                      <a:pt x="130" y="901"/>
                      <a:pt x="104" y="891"/>
                      <a:pt x="81" y="877"/>
                    </a:cubicBezTo>
                    <a:cubicBezTo>
                      <a:pt x="58" y="862"/>
                      <a:pt x="37" y="843"/>
                      <a:pt x="22" y="818"/>
                    </a:cubicBezTo>
                    <a:cubicBezTo>
                      <a:pt x="15" y="805"/>
                      <a:pt x="9" y="791"/>
                      <a:pt x="7" y="776"/>
                    </a:cubicBezTo>
                    <a:cubicBezTo>
                      <a:pt x="5" y="769"/>
                      <a:pt x="4" y="761"/>
                      <a:pt x="4" y="753"/>
                    </a:cubicBezTo>
                    <a:cubicBezTo>
                      <a:pt x="4" y="747"/>
                      <a:pt x="4" y="742"/>
                      <a:pt x="4" y="736"/>
                    </a:cubicBezTo>
                    <a:cubicBezTo>
                      <a:pt x="5" y="644"/>
                      <a:pt x="5" y="554"/>
                      <a:pt x="5" y="467"/>
                    </a:cubicBezTo>
                    <a:cubicBezTo>
                      <a:pt x="6" y="378"/>
                      <a:pt x="6" y="292"/>
                      <a:pt x="7" y="206"/>
                    </a:cubicBezTo>
                    <a:cubicBezTo>
                      <a:pt x="7" y="151"/>
                      <a:pt x="8" y="66"/>
                      <a:pt x="8" y="44"/>
                    </a:cubicBezTo>
                    <a:cubicBezTo>
                      <a:pt x="8" y="22"/>
                      <a:pt x="17" y="4"/>
                      <a:pt x="48" y="4"/>
                    </a:cubicBezTo>
                    <a:cubicBezTo>
                      <a:pt x="52" y="4"/>
                      <a:pt x="58" y="4"/>
                      <a:pt x="64" y="4"/>
                    </a:cubicBezTo>
                    <a:cubicBezTo>
                      <a:pt x="94" y="4"/>
                      <a:pt x="133" y="5"/>
                      <a:pt x="166" y="5"/>
                    </a:cubicBezTo>
                    <a:cubicBezTo>
                      <a:pt x="184" y="5"/>
                      <a:pt x="202" y="5"/>
                      <a:pt x="220" y="5"/>
                    </a:cubicBezTo>
                    <a:cubicBezTo>
                      <a:pt x="240" y="6"/>
                      <a:pt x="259" y="9"/>
                      <a:pt x="278" y="15"/>
                    </a:cubicBezTo>
                    <a:cubicBezTo>
                      <a:pt x="317" y="25"/>
                      <a:pt x="352" y="46"/>
                      <a:pt x="381" y="73"/>
                    </a:cubicBezTo>
                    <a:cubicBezTo>
                      <a:pt x="407" y="98"/>
                      <a:pt x="434" y="123"/>
                      <a:pt x="460" y="148"/>
                    </a:cubicBezTo>
                    <a:cubicBezTo>
                      <a:pt x="497" y="183"/>
                      <a:pt x="537" y="222"/>
                      <a:pt x="578" y="260"/>
                    </a:cubicBezTo>
                    <a:cubicBezTo>
                      <a:pt x="597" y="279"/>
                      <a:pt x="617" y="296"/>
                      <a:pt x="639" y="311"/>
                    </a:cubicBezTo>
                    <a:cubicBezTo>
                      <a:pt x="660" y="326"/>
                      <a:pt x="682" y="339"/>
                      <a:pt x="704" y="350"/>
                    </a:cubicBezTo>
                    <a:cubicBezTo>
                      <a:pt x="748" y="371"/>
                      <a:pt x="792" y="383"/>
                      <a:pt x="826" y="390"/>
                    </a:cubicBezTo>
                    <a:cubicBezTo>
                      <a:pt x="861" y="397"/>
                      <a:pt x="887" y="398"/>
                      <a:pt x="900" y="400"/>
                    </a:cubicBezTo>
                    <a:cubicBezTo>
                      <a:pt x="980" y="404"/>
                      <a:pt x="1049" y="390"/>
                      <a:pt x="1105" y="370"/>
                    </a:cubicBezTo>
                    <a:cubicBezTo>
                      <a:pt x="1161" y="350"/>
                      <a:pt x="1204" y="323"/>
                      <a:pt x="1237" y="297"/>
                    </a:cubicBezTo>
                    <a:cubicBezTo>
                      <a:pt x="1245" y="291"/>
                      <a:pt x="1253" y="285"/>
                      <a:pt x="1260" y="278"/>
                    </a:cubicBezTo>
                    <a:cubicBezTo>
                      <a:pt x="1267" y="272"/>
                      <a:pt x="1274" y="266"/>
                      <a:pt x="1281" y="260"/>
                    </a:cubicBezTo>
                    <a:cubicBezTo>
                      <a:pt x="1294" y="249"/>
                      <a:pt x="1305" y="239"/>
                      <a:pt x="1316" y="230"/>
                    </a:cubicBezTo>
                    <a:cubicBezTo>
                      <a:pt x="1336" y="213"/>
                      <a:pt x="1352" y="200"/>
                      <a:pt x="1364" y="191"/>
                    </a:cubicBezTo>
                    <a:cubicBezTo>
                      <a:pt x="1373" y="184"/>
                      <a:pt x="1378" y="180"/>
                      <a:pt x="1383" y="178"/>
                    </a:cubicBezTo>
                    <a:cubicBezTo>
                      <a:pt x="1387" y="175"/>
                      <a:pt x="1387" y="177"/>
                      <a:pt x="1384" y="181"/>
                    </a:cubicBezTo>
                    <a:cubicBezTo>
                      <a:pt x="1382" y="184"/>
                      <a:pt x="1377" y="191"/>
                      <a:pt x="1368" y="200"/>
                    </a:cubicBezTo>
                    <a:cubicBezTo>
                      <a:pt x="1367" y="201"/>
                      <a:pt x="1366" y="202"/>
                      <a:pt x="1365" y="204"/>
                    </a:cubicBezTo>
                    <a:cubicBezTo>
                      <a:pt x="1355" y="214"/>
                      <a:pt x="1342" y="228"/>
                      <a:pt x="1326" y="245"/>
                    </a:cubicBezTo>
                    <a:cubicBezTo>
                      <a:pt x="1319" y="252"/>
                      <a:pt x="1309" y="262"/>
                      <a:pt x="1296" y="276"/>
                    </a:cubicBezTo>
                    <a:cubicBezTo>
                      <a:pt x="1289" y="283"/>
                      <a:pt x="1281" y="291"/>
                      <a:pt x="1273" y="299"/>
                    </a:cubicBezTo>
                    <a:cubicBezTo>
                      <a:pt x="1264" y="308"/>
                      <a:pt x="1254" y="317"/>
                      <a:pt x="1243" y="326"/>
                    </a:cubicBezTo>
                    <a:cubicBezTo>
                      <a:pt x="1221" y="344"/>
                      <a:pt x="1194" y="363"/>
                      <a:pt x="1161" y="381"/>
                    </a:cubicBezTo>
                    <a:cubicBezTo>
                      <a:pt x="1128" y="398"/>
                      <a:pt x="1090" y="413"/>
                      <a:pt x="1048" y="423"/>
                    </a:cubicBezTo>
                    <a:cubicBezTo>
                      <a:pt x="1009" y="433"/>
                      <a:pt x="967" y="439"/>
                      <a:pt x="925" y="440"/>
                    </a:cubicBezTo>
                    <a:cubicBezTo>
                      <a:pt x="882" y="441"/>
                      <a:pt x="838" y="437"/>
                      <a:pt x="793" y="427"/>
                    </a:cubicBezTo>
                    <a:cubicBezTo>
                      <a:pt x="741" y="416"/>
                      <a:pt x="685" y="395"/>
                      <a:pt x="631" y="362"/>
                    </a:cubicBezTo>
                    <a:cubicBezTo>
                      <a:pt x="604" y="345"/>
                      <a:pt x="577" y="325"/>
                      <a:pt x="553" y="302"/>
                    </a:cubicBezTo>
                    <a:cubicBezTo>
                      <a:pt x="550" y="299"/>
                      <a:pt x="547" y="296"/>
                      <a:pt x="544" y="293"/>
                    </a:cubicBezTo>
                    <a:cubicBezTo>
                      <a:pt x="541" y="291"/>
                      <a:pt x="538" y="288"/>
                      <a:pt x="535" y="286"/>
                    </a:cubicBezTo>
                    <a:cubicBezTo>
                      <a:pt x="529" y="280"/>
                      <a:pt x="523" y="275"/>
                      <a:pt x="517" y="269"/>
                    </a:cubicBezTo>
                    <a:cubicBezTo>
                      <a:pt x="505" y="258"/>
                      <a:pt x="493" y="247"/>
                      <a:pt x="481" y="235"/>
                    </a:cubicBezTo>
                    <a:cubicBezTo>
                      <a:pt x="456" y="213"/>
                      <a:pt x="431" y="189"/>
                      <a:pt x="406" y="166"/>
                    </a:cubicBezTo>
                    <a:cubicBezTo>
                      <a:pt x="393" y="154"/>
                      <a:pt x="381" y="142"/>
                      <a:pt x="368" y="130"/>
                    </a:cubicBezTo>
                    <a:cubicBezTo>
                      <a:pt x="361" y="125"/>
                      <a:pt x="355" y="119"/>
                      <a:pt x="348" y="113"/>
                    </a:cubicBezTo>
                    <a:cubicBezTo>
                      <a:pt x="345" y="109"/>
                      <a:pt x="343" y="107"/>
                      <a:pt x="340" y="105"/>
                    </a:cubicBezTo>
                    <a:cubicBezTo>
                      <a:pt x="337" y="102"/>
                      <a:pt x="334" y="100"/>
                      <a:pt x="330" y="97"/>
                    </a:cubicBezTo>
                    <a:cubicBezTo>
                      <a:pt x="306" y="79"/>
                      <a:pt x="276" y="66"/>
                      <a:pt x="246" y="61"/>
                    </a:cubicBezTo>
                    <a:cubicBezTo>
                      <a:pt x="238" y="60"/>
                      <a:pt x="230" y="59"/>
                      <a:pt x="222" y="58"/>
                    </a:cubicBezTo>
                    <a:cubicBezTo>
                      <a:pt x="217" y="58"/>
                      <a:pt x="217" y="58"/>
                      <a:pt x="217" y="58"/>
                    </a:cubicBezTo>
                    <a:cubicBezTo>
                      <a:pt x="210" y="58"/>
                      <a:pt x="210" y="58"/>
                      <a:pt x="210" y="58"/>
                    </a:cubicBezTo>
                    <a:cubicBezTo>
                      <a:pt x="197" y="58"/>
                      <a:pt x="197" y="58"/>
                      <a:pt x="197" y="58"/>
                    </a:cubicBezTo>
                    <a:cubicBezTo>
                      <a:pt x="179" y="58"/>
                      <a:pt x="161" y="58"/>
                      <a:pt x="143" y="58"/>
                    </a:cubicBezTo>
                    <a:cubicBezTo>
                      <a:pt x="119" y="58"/>
                      <a:pt x="82" y="58"/>
                      <a:pt x="70" y="58"/>
                    </a:cubicBezTo>
                    <a:cubicBezTo>
                      <a:pt x="64" y="58"/>
                      <a:pt x="63" y="60"/>
                      <a:pt x="63" y="68"/>
                    </a:cubicBezTo>
                    <a:cubicBezTo>
                      <a:pt x="63" y="93"/>
                      <a:pt x="63" y="462"/>
                      <a:pt x="63" y="652"/>
                    </a:cubicBezTo>
                    <a:cubicBezTo>
                      <a:pt x="63" y="677"/>
                      <a:pt x="63" y="702"/>
                      <a:pt x="63" y="727"/>
                    </a:cubicBezTo>
                    <a:cubicBezTo>
                      <a:pt x="63" y="745"/>
                      <a:pt x="63" y="745"/>
                      <a:pt x="63" y="745"/>
                    </a:cubicBezTo>
                    <a:cubicBezTo>
                      <a:pt x="63" y="754"/>
                      <a:pt x="63" y="754"/>
                      <a:pt x="63" y="754"/>
                    </a:cubicBezTo>
                    <a:cubicBezTo>
                      <a:pt x="63" y="756"/>
                      <a:pt x="63" y="758"/>
                      <a:pt x="64" y="760"/>
                    </a:cubicBezTo>
                    <a:cubicBezTo>
                      <a:pt x="65" y="769"/>
                      <a:pt x="68" y="777"/>
                      <a:pt x="72" y="785"/>
                    </a:cubicBezTo>
                    <a:cubicBezTo>
                      <a:pt x="81" y="802"/>
                      <a:pt x="96" y="816"/>
                      <a:pt x="113" y="827"/>
                    </a:cubicBezTo>
                    <a:cubicBezTo>
                      <a:pt x="131" y="838"/>
                      <a:pt x="151" y="845"/>
                      <a:pt x="171" y="848"/>
                    </a:cubicBezTo>
                    <a:cubicBezTo>
                      <a:pt x="173" y="848"/>
                      <a:pt x="176" y="848"/>
                      <a:pt x="178" y="848"/>
                    </a:cubicBezTo>
                    <a:cubicBezTo>
                      <a:pt x="179" y="848"/>
                      <a:pt x="181" y="848"/>
                      <a:pt x="182" y="848"/>
                    </a:cubicBezTo>
                    <a:cubicBezTo>
                      <a:pt x="186" y="848"/>
                      <a:pt x="186" y="848"/>
                      <a:pt x="186" y="848"/>
                    </a:cubicBezTo>
                    <a:cubicBezTo>
                      <a:pt x="204" y="848"/>
                      <a:pt x="204" y="848"/>
                      <a:pt x="204" y="848"/>
                    </a:cubicBezTo>
                    <a:cubicBezTo>
                      <a:pt x="210" y="848"/>
                      <a:pt x="216" y="848"/>
                      <a:pt x="222" y="848"/>
                    </a:cubicBezTo>
                    <a:cubicBezTo>
                      <a:pt x="227" y="847"/>
                      <a:pt x="227" y="847"/>
                      <a:pt x="227" y="847"/>
                    </a:cubicBezTo>
                    <a:cubicBezTo>
                      <a:pt x="230" y="847"/>
                      <a:pt x="230" y="847"/>
                      <a:pt x="230" y="847"/>
                    </a:cubicBezTo>
                    <a:cubicBezTo>
                      <a:pt x="231" y="847"/>
                      <a:pt x="233" y="847"/>
                      <a:pt x="234" y="846"/>
                    </a:cubicBezTo>
                    <a:cubicBezTo>
                      <a:pt x="235" y="845"/>
                      <a:pt x="235" y="843"/>
                      <a:pt x="235" y="842"/>
                    </a:cubicBezTo>
                    <a:cubicBezTo>
                      <a:pt x="235" y="833"/>
                      <a:pt x="235" y="825"/>
                      <a:pt x="235" y="816"/>
                    </a:cubicBezTo>
                    <a:cubicBezTo>
                      <a:pt x="235" y="767"/>
                      <a:pt x="235" y="718"/>
                      <a:pt x="235" y="668"/>
                    </a:cubicBezTo>
                    <a:cubicBezTo>
                      <a:pt x="235" y="649"/>
                      <a:pt x="235" y="630"/>
                      <a:pt x="235" y="610"/>
                    </a:cubicBezTo>
                    <a:cubicBezTo>
                      <a:pt x="235" y="603"/>
                      <a:pt x="235" y="603"/>
                      <a:pt x="235" y="603"/>
                    </a:cubicBezTo>
                    <a:cubicBezTo>
                      <a:pt x="235" y="600"/>
                      <a:pt x="235" y="596"/>
                      <a:pt x="235" y="593"/>
                    </a:cubicBezTo>
                    <a:cubicBezTo>
                      <a:pt x="236" y="587"/>
                      <a:pt x="236" y="581"/>
                      <a:pt x="238" y="575"/>
                    </a:cubicBezTo>
                    <a:cubicBezTo>
                      <a:pt x="240" y="563"/>
                      <a:pt x="244" y="551"/>
                      <a:pt x="249" y="540"/>
                    </a:cubicBezTo>
                    <a:cubicBezTo>
                      <a:pt x="260" y="518"/>
                      <a:pt x="276" y="499"/>
                      <a:pt x="296" y="484"/>
                    </a:cubicBezTo>
                    <a:cubicBezTo>
                      <a:pt x="316" y="470"/>
                      <a:pt x="339" y="460"/>
                      <a:pt x="364" y="457"/>
                    </a:cubicBezTo>
                    <a:cubicBezTo>
                      <a:pt x="370" y="456"/>
                      <a:pt x="377" y="456"/>
                      <a:pt x="383" y="456"/>
                    </a:cubicBezTo>
                    <a:cubicBezTo>
                      <a:pt x="388" y="456"/>
                      <a:pt x="394" y="456"/>
                      <a:pt x="400" y="457"/>
                    </a:cubicBezTo>
                    <a:cubicBezTo>
                      <a:pt x="411" y="457"/>
                      <a:pt x="422" y="459"/>
                      <a:pt x="433" y="462"/>
                    </a:cubicBezTo>
                    <a:cubicBezTo>
                      <a:pt x="455" y="466"/>
                      <a:pt x="476" y="474"/>
                      <a:pt x="496" y="484"/>
                    </a:cubicBezTo>
                    <a:cubicBezTo>
                      <a:pt x="535" y="504"/>
                      <a:pt x="569" y="530"/>
                      <a:pt x="599" y="557"/>
                    </a:cubicBezTo>
                    <a:cubicBezTo>
                      <a:pt x="615" y="571"/>
                      <a:pt x="629" y="585"/>
                      <a:pt x="644" y="598"/>
                    </a:cubicBezTo>
                    <a:cubicBezTo>
                      <a:pt x="665" y="619"/>
                      <a:pt x="665" y="619"/>
                      <a:pt x="665" y="619"/>
                    </a:cubicBezTo>
                    <a:cubicBezTo>
                      <a:pt x="676" y="628"/>
                      <a:pt x="676" y="628"/>
                      <a:pt x="676" y="628"/>
                    </a:cubicBezTo>
                    <a:cubicBezTo>
                      <a:pt x="687" y="638"/>
                      <a:pt x="687" y="638"/>
                      <a:pt x="687" y="638"/>
                    </a:cubicBezTo>
                    <a:cubicBezTo>
                      <a:pt x="717" y="665"/>
                      <a:pt x="746" y="692"/>
                      <a:pt x="775" y="718"/>
                    </a:cubicBezTo>
                    <a:cubicBezTo>
                      <a:pt x="790" y="730"/>
                      <a:pt x="804" y="742"/>
                      <a:pt x="819" y="753"/>
                    </a:cubicBezTo>
                    <a:cubicBezTo>
                      <a:pt x="834" y="763"/>
                      <a:pt x="849" y="772"/>
                      <a:pt x="865" y="779"/>
                    </a:cubicBezTo>
                    <a:cubicBezTo>
                      <a:pt x="881" y="786"/>
                      <a:pt x="896" y="790"/>
                      <a:pt x="912" y="791"/>
                    </a:cubicBezTo>
                    <a:cubicBezTo>
                      <a:pt x="928" y="792"/>
                      <a:pt x="944" y="790"/>
                      <a:pt x="959" y="785"/>
                    </a:cubicBezTo>
                    <a:cubicBezTo>
                      <a:pt x="979" y="779"/>
                      <a:pt x="997" y="768"/>
                      <a:pt x="1015" y="756"/>
                    </a:cubicBezTo>
                    <a:cubicBezTo>
                      <a:pt x="1033" y="744"/>
                      <a:pt x="1051" y="730"/>
                      <a:pt x="1067" y="716"/>
                    </a:cubicBezTo>
                    <a:cubicBezTo>
                      <a:pt x="1084" y="702"/>
                      <a:pt x="1101" y="687"/>
                      <a:pt x="1117" y="673"/>
                    </a:cubicBezTo>
                    <a:cubicBezTo>
                      <a:pt x="1125" y="665"/>
                      <a:pt x="1133" y="658"/>
                      <a:pt x="1141" y="651"/>
                    </a:cubicBezTo>
                    <a:cubicBezTo>
                      <a:pt x="1149" y="644"/>
                      <a:pt x="1157" y="637"/>
                      <a:pt x="1165" y="630"/>
                    </a:cubicBezTo>
                    <a:cubicBezTo>
                      <a:pt x="1196" y="603"/>
                      <a:pt x="1226" y="574"/>
                      <a:pt x="1257" y="548"/>
                    </a:cubicBezTo>
                    <a:cubicBezTo>
                      <a:pt x="1289" y="522"/>
                      <a:pt x="1323" y="499"/>
                      <a:pt x="1360" y="483"/>
                    </a:cubicBezTo>
                    <a:cubicBezTo>
                      <a:pt x="1384" y="473"/>
                      <a:pt x="1410" y="466"/>
                      <a:pt x="1437" y="464"/>
                    </a:cubicBezTo>
                    <a:cubicBezTo>
                      <a:pt x="1443" y="464"/>
                      <a:pt x="1450" y="464"/>
                      <a:pt x="1456" y="464"/>
                    </a:cubicBezTo>
                    <a:cubicBezTo>
                      <a:pt x="1464" y="464"/>
                      <a:pt x="1471" y="465"/>
                      <a:pt x="1478" y="466"/>
                    </a:cubicBezTo>
                    <a:cubicBezTo>
                      <a:pt x="1491" y="468"/>
                      <a:pt x="1505" y="472"/>
                      <a:pt x="1517" y="479"/>
                    </a:cubicBezTo>
                    <a:cubicBezTo>
                      <a:pt x="1541" y="491"/>
                      <a:pt x="1561" y="511"/>
                      <a:pt x="1574" y="534"/>
                    </a:cubicBezTo>
                    <a:cubicBezTo>
                      <a:pt x="1581" y="545"/>
                      <a:pt x="1586" y="557"/>
                      <a:pt x="1589" y="569"/>
                    </a:cubicBezTo>
                    <a:cubicBezTo>
                      <a:pt x="1590" y="576"/>
                      <a:pt x="1591" y="582"/>
                      <a:pt x="1592" y="588"/>
                    </a:cubicBezTo>
                    <a:cubicBezTo>
                      <a:pt x="1592" y="591"/>
                      <a:pt x="1593" y="594"/>
                      <a:pt x="1593" y="597"/>
                    </a:cubicBezTo>
                    <a:cubicBezTo>
                      <a:pt x="1593" y="600"/>
                      <a:pt x="1593" y="604"/>
                      <a:pt x="1593" y="606"/>
                    </a:cubicBezTo>
                    <a:cubicBezTo>
                      <a:pt x="1592" y="648"/>
                      <a:pt x="1592" y="688"/>
                      <a:pt x="1591" y="726"/>
                    </a:cubicBezTo>
                    <a:cubicBezTo>
                      <a:pt x="1591" y="736"/>
                      <a:pt x="1591" y="745"/>
                      <a:pt x="1591" y="754"/>
                    </a:cubicBezTo>
                    <a:cubicBezTo>
                      <a:pt x="1591" y="762"/>
                      <a:pt x="1592" y="770"/>
                      <a:pt x="1594" y="777"/>
                    </a:cubicBezTo>
                    <a:cubicBezTo>
                      <a:pt x="1599" y="791"/>
                      <a:pt x="1608" y="805"/>
                      <a:pt x="1618" y="816"/>
                    </a:cubicBezTo>
                    <a:cubicBezTo>
                      <a:pt x="1634" y="832"/>
                      <a:pt x="1653" y="844"/>
                      <a:pt x="1671" y="852"/>
                    </a:cubicBezTo>
                    <a:cubicBezTo>
                      <a:pt x="1681" y="856"/>
                      <a:pt x="1690" y="859"/>
                      <a:pt x="1700" y="861"/>
                    </a:cubicBezTo>
                    <a:cubicBezTo>
                      <a:pt x="1705" y="862"/>
                      <a:pt x="1709" y="863"/>
                      <a:pt x="1714" y="864"/>
                    </a:cubicBezTo>
                    <a:cubicBezTo>
                      <a:pt x="1716" y="864"/>
                      <a:pt x="1719" y="864"/>
                      <a:pt x="1721" y="864"/>
                    </a:cubicBezTo>
                    <a:cubicBezTo>
                      <a:pt x="1723" y="865"/>
                      <a:pt x="1725" y="865"/>
                      <a:pt x="1728" y="865"/>
                    </a:cubicBezTo>
                    <a:cubicBezTo>
                      <a:pt x="1734" y="865"/>
                      <a:pt x="1740" y="865"/>
                      <a:pt x="1745" y="865"/>
                    </a:cubicBezTo>
                    <a:cubicBezTo>
                      <a:pt x="1752" y="865"/>
                      <a:pt x="1759" y="865"/>
                      <a:pt x="1765" y="865"/>
                    </a:cubicBezTo>
                    <a:cubicBezTo>
                      <a:pt x="1768" y="865"/>
                      <a:pt x="1770" y="865"/>
                      <a:pt x="1772" y="865"/>
                    </a:cubicBezTo>
                    <a:cubicBezTo>
                      <a:pt x="1775" y="864"/>
                      <a:pt x="1777" y="864"/>
                      <a:pt x="1779" y="864"/>
                    </a:cubicBezTo>
                    <a:cubicBezTo>
                      <a:pt x="1782" y="864"/>
                      <a:pt x="1784" y="864"/>
                      <a:pt x="1786" y="863"/>
                    </a:cubicBezTo>
                    <a:cubicBezTo>
                      <a:pt x="1788" y="863"/>
                      <a:pt x="1790" y="861"/>
                      <a:pt x="1791" y="859"/>
                    </a:cubicBezTo>
                    <a:cubicBezTo>
                      <a:pt x="1794" y="856"/>
                      <a:pt x="1794" y="851"/>
                      <a:pt x="1794" y="847"/>
                    </a:cubicBezTo>
                    <a:cubicBezTo>
                      <a:pt x="1794" y="845"/>
                      <a:pt x="1794" y="843"/>
                      <a:pt x="1794" y="841"/>
                    </a:cubicBezTo>
                    <a:cubicBezTo>
                      <a:pt x="1794" y="840"/>
                      <a:pt x="1795" y="839"/>
                      <a:pt x="1795" y="838"/>
                    </a:cubicBezTo>
                    <a:cubicBezTo>
                      <a:pt x="1795" y="837"/>
                      <a:pt x="1795" y="836"/>
                      <a:pt x="1795" y="835"/>
                    </a:cubicBezTo>
                    <a:cubicBezTo>
                      <a:pt x="1795" y="832"/>
                      <a:pt x="1795" y="830"/>
                      <a:pt x="1795" y="827"/>
                    </a:cubicBezTo>
                    <a:cubicBezTo>
                      <a:pt x="1796" y="822"/>
                      <a:pt x="1796" y="817"/>
                      <a:pt x="1796" y="811"/>
                    </a:cubicBezTo>
                    <a:cubicBezTo>
                      <a:pt x="1797" y="801"/>
                      <a:pt x="1797" y="790"/>
                      <a:pt x="1798" y="780"/>
                    </a:cubicBezTo>
                    <a:cubicBezTo>
                      <a:pt x="1799" y="761"/>
                      <a:pt x="1800" y="744"/>
                      <a:pt x="1801" y="739"/>
                    </a:cubicBezTo>
                    <a:cubicBezTo>
                      <a:pt x="1802" y="735"/>
                      <a:pt x="1803" y="738"/>
                      <a:pt x="1803" y="732"/>
                    </a:cubicBezTo>
                    <a:cubicBezTo>
                      <a:pt x="1805" y="723"/>
                      <a:pt x="1806" y="740"/>
                      <a:pt x="1808" y="778"/>
                    </a:cubicBezTo>
                    <a:cubicBezTo>
                      <a:pt x="1808" y="787"/>
                      <a:pt x="1809" y="797"/>
                      <a:pt x="1809" y="808"/>
                    </a:cubicBezTo>
                    <a:cubicBezTo>
                      <a:pt x="1809" y="813"/>
                      <a:pt x="1809" y="819"/>
                      <a:pt x="1809" y="824"/>
                    </a:cubicBezTo>
                    <a:cubicBezTo>
                      <a:pt x="1809" y="827"/>
                      <a:pt x="1810" y="830"/>
                      <a:pt x="1810" y="833"/>
                    </a:cubicBezTo>
                    <a:cubicBezTo>
                      <a:pt x="1810" y="836"/>
                      <a:pt x="1810" y="840"/>
                      <a:pt x="1810" y="843"/>
                    </a:cubicBezTo>
                    <a:cubicBezTo>
                      <a:pt x="1810" y="850"/>
                      <a:pt x="1811" y="858"/>
                      <a:pt x="1809" y="86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 name="Freeform 19">
                <a:extLst>
                  <a:ext uri="{FF2B5EF4-FFF2-40B4-BE49-F238E27FC236}">
                    <a16:creationId xmlns:a16="http://schemas.microsoft.com/office/drawing/2014/main" id="{8938F27A-0604-490A-AA04-483752020037}"/>
                  </a:ext>
                </a:extLst>
              </p:cNvPr>
              <p:cNvSpPr>
                <a:spLocks noEditPoints="1"/>
              </p:cNvSpPr>
              <p:nvPr>
                <p:custDataLst>
                  <p:tags r:id="rId6"/>
                </p:custDataLst>
              </p:nvPr>
            </p:nvSpPr>
            <p:spPr bwMode="gray">
              <a:xfrm>
                <a:off x="2679701" y="1730376"/>
                <a:ext cx="6788150" cy="3400425"/>
              </a:xfrm>
              <a:custGeom>
                <a:avLst/>
                <a:gdLst>
                  <a:gd name="T0" fmla="*/ 1791 w 1807"/>
                  <a:gd name="T1" fmla="*/ 831 h 904"/>
                  <a:gd name="T2" fmla="*/ 1724 w 1807"/>
                  <a:gd name="T3" fmla="*/ 861 h 904"/>
                  <a:gd name="T4" fmla="*/ 1589 w 1807"/>
                  <a:gd name="T5" fmla="*/ 593 h 904"/>
                  <a:gd name="T6" fmla="*/ 1161 w 1807"/>
                  <a:gd name="T7" fmla="*/ 626 h 904"/>
                  <a:gd name="T8" fmla="*/ 683 w 1807"/>
                  <a:gd name="T9" fmla="*/ 634 h 904"/>
                  <a:gd name="T10" fmla="*/ 292 w 1807"/>
                  <a:gd name="T11" fmla="*/ 480 h 904"/>
                  <a:gd name="T12" fmla="*/ 226 w 1807"/>
                  <a:gd name="T13" fmla="*/ 843 h 904"/>
                  <a:gd name="T14" fmla="*/ 60 w 1807"/>
                  <a:gd name="T15" fmla="*/ 756 h 904"/>
                  <a:gd name="T16" fmla="*/ 213 w 1807"/>
                  <a:gd name="T17" fmla="*/ 54 h 904"/>
                  <a:gd name="T18" fmla="*/ 531 w 1807"/>
                  <a:gd name="T19" fmla="*/ 282 h 904"/>
                  <a:gd name="T20" fmla="*/ 1292 w 1807"/>
                  <a:gd name="T21" fmla="*/ 272 h 904"/>
                  <a:gd name="T22" fmla="*/ 1233 w 1807"/>
                  <a:gd name="T23" fmla="*/ 293 h 904"/>
                  <a:gd name="T24" fmla="*/ 216 w 1807"/>
                  <a:gd name="T25" fmla="*/ 1 h 904"/>
                  <a:gd name="T26" fmla="*/ 77 w 1807"/>
                  <a:gd name="T27" fmla="*/ 873 h 904"/>
                  <a:gd name="T28" fmla="*/ 275 w 1807"/>
                  <a:gd name="T29" fmla="*/ 889 h 904"/>
                  <a:gd name="T30" fmla="*/ 291 w 1807"/>
                  <a:gd name="T31" fmla="*/ 600 h 904"/>
                  <a:gd name="T32" fmla="*/ 555 w 1807"/>
                  <a:gd name="T33" fmla="*/ 596 h 904"/>
                  <a:gd name="T34" fmla="*/ 1114 w 1807"/>
                  <a:gd name="T35" fmla="*/ 739 h 904"/>
                  <a:gd name="T36" fmla="*/ 1474 w 1807"/>
                  <a:gd name="T37" fmla="*/ 505 h 904"/>
                  <a:gd name="T38" fmla="*/ 1584 w 1807"/>
                  <a:gd name="T39" fmla="*/ 819 h 904"/>
                  <a:gd name="T40" fmla="*/ 1805 w 1807"/>
                  <a:gd name="T41" fmla="*/ 861 h 904"/>
                  <a:gd name="T42" fmla="*/ 1565 w 1807"/>
                  <a:gd name="T43" fmla="*/ 743 h 904"/>
                  <a:gd name="T44" fmla="*/ 1448 w 1807"/>
                  <a:gd name="T45" fmla="*/ 494 h 904"/>
                  <a:gd name="T46" fmla="*/ 910 w 1807"/>
                  <a:gd name="T47" fmla="*/ 836 h 904"/>
                  <a:gd name="T48" fmla="*/ 411 w 1807"/>
                  <a:gd name="T49" fmla="*/ 510 h 904"/>
                  <a:gd name="T50" fmla="*/ 286 w 1807"/>
                  <a:gd name="T51" fmla="*/ 648 h 904"/>
                  <a:gd name="T52" fmla="*/ 271 w 1807"/>
                  <a:gd name="T53" fmla="*/ 887 h 904"/>
                  <a:gd name="T54" fmla="*/ 29 w 1807"/>
                  <a:gd name="T55" fmla="*/ 822 h 904"/>
                  <a:gd name="T56" fmla="*/ 46 w 1807"/>
                  <a:gd name="T57" fmla="*/ 4 h 904"/>
                  <a:gd name="T58" fmla="*/ 380 w 1807"/>
                  <a:gd name="T59" fmla="*/ 78 h 904"/>
                  <a:gd name="T60" fmla="*/ 741 w 1807"/>
                  <a:gd name="T61" fmla="*/ 370 h 904"/>
                  <a:gd name="T62" fmla="*/ 875 w 1807"/>
                  <a:gd name="T63" fmla="*/ 430 h 904"/>
                  <a:gd name="T64" fmla="*/ 375 w 1807"/>
                  <a:gd name="T65" fmla="*/ 127 h 904"/>
                  <a:gd name="T66" fmla="*/ 52 w 1807"/>
                  <a:gd name="T67" fmla="*/ 60 h 904"/>
                  <a:gd name="T68" fmla="*/ 175 w 1807"/>
                  <a:gd name="T69" fmla="*/ 849 h 904"/>
                  <a:gd name="T70" fmla="*/ 235 w 1807"/>
                  <a:gd name="T71" fmla="*/ 837 h 904"/>
                  <a:gd name="T72" fmla="*/ 412 w 1807"/>
                  <a:gd name="T73" fmla="*/ 457 h 904"/>
                  <a:gd name="T74" fmla="*/ 914 w 1807"/>
                  <a:gd name="T75" fmla="*/ 790 h 904"/>
                  <a:gd name="T76" fmla="*/ 1387 w 1807"/>
                  <a:gd name="T77" fmla="*/ 472 h 904"/>
                  <a:gd name="T78" fmla="*/ 1606 w 1807"/>
                  <a:gd name="T79" fmla="*/ 809 h 904"/>
                  <a:gd name="T80" fmla="*/ 107 w 1807"/>
                  <a:gd name="T81" fmla="*/ 862 h 904"/>
                  <a:gd name="T82" fmla="*/ 22 w 1807"/>
                  <a:gd name="T83" fmla="*/ 48 h 904"/>
                  <a:gd name="T84" fmla="*/ 397 w 1807"/>
                  <a:gd name="T85" fmla="*/ 113 h 904"/>
                  <a:gd name="T86" fmla="*/ 192 w 1807"/>
                  <a:gd name="T87" fmla="*/ 34 h 904"/>
                  <a:gd name="T88" fmla="*/ 41 w 1807"/>
                  <a:gd name="T89" fmla="*/ 760 h 904"/>
                  <a:gd name="T90" fmla="*/ 253 w 1807"/>
                  <a:gd name="T91" fmla="*/ 852 h 904"/>
                  <a:gd name="T92" fmla="*/ 262 w 1807"/>
                  <a:gd name="T93" fmla="*/ 863 h 904"/>
                  <a:gd name="T94" fmla="*/ 296 w 1807"/>
                  <a:gd name="T95" fmla="*/ 497 h 904"/>
                  <a:gd name="T96" fmla="*/ 239 w 1807"/>
                  <a:gd name="T97" fmla="*/ 854 h 904"/>
                  <a:gd name="T98" fmla="*/ 114 w 1807"/>
                  <a:gd name="T99" fmla="*/ 840 h 904"/>
                  <a:gd name="T100" fmla="*/ 218 w 1807"/>
                  <a:gd name="T101" fmla="*/ 39 h 904"/>
                  <a:gd name="T102" fmla="*/ 552 w 1807"/>
                  <a:gd name="T103" fmla="*/ 280 h 904"/>
                  <a:gd name="T104" fmla="*/ 569 w 1807"/>
                  <a:gd name="T105" fmla="*/ 272 h 904"/>
                  <a:gd name="T106" fmla="*/ 212 w 1807"/>
                  <a:gd name="T107" fmla="*/ 14 h 904"/>
                  <a:gd name="T108" fmla="*/ 16 w 1807"/>
                  <a:gd name="T109" fmla="*/ 730 h 904"/>
                  <a:gd name="T110" fmla="*/ 187 w 1807"/>
                  <a:gd name="T111" fmla="*/ 887 h 904"/>
                  <a:gd name="T112" fmla="*/ 274 w 1807"/>
                  <a:gd name="T113" fmla="*/ 830 h 904"/>
                  <a:gd name="T114" fmla="*/ 519 w 1807"/>
                  <a:gd name="T115" fmla="*/ 53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7" h="904">
                    <a:moveTo>
                      <a:pt x="1806" y="829"/>
                    </a:moveTo>
                    <a:cubicBezTo>
                      <a:pt x="1806" y="826"/>
                      <a:pt x="1805" y="823"/>
                      <a:pt x="1805" y="820"/>
                    </a:cubicBezTo>
                    <a:cubicBezTo>
                      <a:pt x="1805" y="815"/>
                      <a:pt x="1805" y="809"/>
                      <a:pt x="1805" y="804"/>
                    </a:cubicBezTo>
                    <a:cubicBezTo>
                      <a:pt x="1805" y="793"/>
                      <a:pt x="1804" y="783"/>
                      <a:pt x="1804" y="774"/>
                    </a:cubicBezTo>
                    <a:cubicBezTo>
                      <a:pt x="1802" y="736"/>
                      <a:pt x="1801" y="719"/>
                      <a:pt x="1799" y="728"/>
                    </a:cubicBezTo>
                    <a:cubicBezTo>
                      <a:pt x="1799" y="734"/>
                      <a:pt x="1798" y="731"/>
                      <a:pt x="1797" y="735"/>
                    </a:cubicBezTo>
                    <a:cubicBezTo>
                      <a:pt x="1796" y="740"/>
                      <a:pt x="1795" y="757"/>
                      <a:pt x="1794" y="776"/>
                    </a:cubicBezTo>
                    <a:cubicBezTo>
                      <a:pt x="1793" y="786"/>
                      <a:pt x="1793" y="797"/>
                      <a:pt x="1792" y="807"/>
                    </a:cubicBezTo>
                    <a:cubicBezTo>
                      <a:pt x="1792" y="813"/>
                      <a:pt x="1792" y="818"/>
                      <a:pt x="1791" y="823"/>
                    </a:cubicBezTo>
                    <a:cubicBezTo>
                      <a:pt x="1791" y="826"/>
                      <a:pt x="1791" y="828"/>
                      <a:pt x="1791" y="831"/>
                    </a:cubicBezTo>
                    <a:cubicBezTo>
                      <a:pt x="1791" y="832"/>
                      <a:pt x="1791" y="833"/>
                      <a:pt x="1791" y="834"/>
                    </a:cubicBezTo>
                    <a:cubicBezTo>
                      <a:pt x="1791" y="835"/>
                      <a:pt x="1790" y="836"/>
                      <a:pt x="1790" y="837"/>
                    </a:cubicBezTo>
                    <a:cubicBezTo>
                      <a:pt x="1790" y="839"/>
                      <a:pt x="1790" y="841"/>
                      <a:pt x="1790" y="843"/>
                    </a:cubicBezTo>
                    <a:cubicBezTo>
                      <a:pt x="1790" y="847"/>
                      <a:pt x="1790" y="852"/>
                      <a:pt x="1787" y="855"/>
                    </a:cubicBezTo>
                    <a:cubicBezTo>
                      <a:pt x="1786" y="857"/>
                      <a:pt x="1784" y="859"/>
                      <a:pt x="1782" y="859"/>
                    </a:cubicBezTo>
                    <a:cubicBezTo>
                      <a:pt x="1780" y="860"/>
                      <a:pt x="1778" y="860"/>
                      <a:pt x="1775" y="860"/>
                    </a:cubicBezTo>
                    <a:cubicBezTo>
                      <a:pt x="1773" y="860"/>
                      <a:pt x="1771" y="860"/>
                      <a:pt x="1768" y="861"/>
                    </a:cubicBezTo>
                    <a:cubicBezTo>
                      <a:pt x="1766" y="861"/>
                      <a:pt x="1764" y="861"/>
                      <a:pt x="1761" y="861"/>
                    </a:cubicBezTo>
                    <a:cubicBezTo>
                      <a:pt x="1755" y="861"/>
                      <a:pt x="1748" y="861"/>
                      <a:pt x="1741" y="861"/>
                    </a:cubicBezTo>
                    <a:cubicBezTo>
                      <a:pt x="1736" y="861"/>
                      <a:pt x="1730" y="861"/>
                      <a:pt x="1724" y="861"/>
                    </a:cubicBezTo>
                    <a:cubicBezTo>
                      <a:pt x="1721" y="861"/>
                      <a:pt x="1719" y="861"/>
                      <a:pt x="1717" y="860"/>
                    </a:cubicBezTo>
                    <a:cubicBezTo>
                      <a:pt x="1715" y="860"/>
                      <a:pt x="1712" y="860"/>
                      <a:pt x="1710" y="860"/>
                    </a:cubicBezTo>
                    <a:cubicBezTo>
                      <a:pt x="1705" y="859"/>
                      <a:pt x="1701" y="858"/>
                      <a:pt x="1696" y="857"/>
                    </a:cubicBezTo>
                    <a:cubicBezTo>
                      <a:pt x="1686" y="855"/>
                      <a:pt x="1677" y="852"/>
                      <a:pt x="1667" y="848"/>
                    </a:cubicBezTo>
                    <a:cubicBezTo>
                      <a:pt x="1649" y="840"/>
                      <a:pt x="1630" y="828"/>
                      <a:pt x="1614" y="812"/>
                    </a:cubicBezTo>
                    <a:cubicBezTo>
                      <a:pt x="1604" y="801"/>
                      <a:pt x="1595" y="787"/>
                      <a:pt x="1590" y="773"/>
                    </a:cubicBezTo>
                    <a:cubicBezTo>
                      <a:pt x="1588" y="766"/>
                      <a:pt x="1587" y="758"/>
                      <a:pt x="1587" y="750"/>
                    </a:cubicBezTo>
                    <a:cubicBezTo>
                      <a:pt x="1587" y="741"/>
                      <a:pt x="1587" y="732"/>
                      <a:pt x="1587" y="722"/>
                    </a:cubicBezTo>
                    <a:cubicBezTo>
                      <a:pt x="1588" y="684"/>
                      <a:pt x="1588" y="644"/>
                      <a:pt x="1589" y="602"/>
                    </a:cubicBezTo>
                    <a:cubicBezTo>
                      <a:pt x="1589" y="600"/>
                      <a:pt x="1589" y="596"/>
                      <a:pt x="1589" y="593"/>
                    </a:cubicBezTo>
                    <a:cubicBezTo>
                      <a:pt x="1589" y="590"/>
                      <a:pt x="1588" y="587"/>
                      <a:pt x="1588" y="584"/>
                    </a:cubicBezTo>
                    <a:cubicBezTo>
                      <a:pt x="1587" y="578"/>
                      <a:pt x="1586" y="572"/>
                      <a:pt x="1585" y="565"/>
                    </a:cubicBezTo>
                    <a:cubicBezTo>
                      <a:pt x="1582" y="553"/>
                      <a:pt x="1577" y="541"/>
                      <a:pt x="1570" y="530"/>
                    </a:cubicBezTo>
                    <a:cubicBezTo>
                      <a:pt x="1557" y="507"/>
                      <a:pt x="1537" y="487"/>
                      <a:pt x="1513" y="475"/>
                    </a:cubicBezTo>
                    <a:cubicBezTo>
                      <a:pt x="1501" y="468"/>
                      <a:pt x="1487" y="464"/>
                      <a:pt x="1474" y="462"/>
                    </a:cubicBezTo>
                    <a:cubicBezTo>
                      <a:pt x="1467" y="461"/>
                      <a:pt x="1460" y="460"/>
                      <a:pt x="1452" y="460"/>
                    </a:cubicBezTo>
                    <a:cubicBezTo>
                      <a:pt x="1446" y="460"/>
                      <a:pt x="1439" y="460"/>
                      <a:pt x="1433" y="460"/>
                    </a:cubicBezTo>
                    <a:cubicBezTo>
                      <a:pt x="1406" y="462"/>
                      <a:pt x="1380" y="469"/>
                      <a:pt x="1356" y="479"/>
                    </a:cubicBezTo>
                    <a:cubicBezTo>
                      <a:pt x="1319" y="495"/>
                      <a:pt x="1285" y="518"/>
                      <a:pt x="1253" y="544"/>
                    </a:cubicBezTo>
                    <a:cubicBezTo>
                      <a:pt x="1222" y="570"/>
                      <a:pt x="1192" y="599"/>
                      <a:pt x="1161" y="626"/>
                    </a:cubicBezTo>
                    <a:cubicBezTo>
                      <a:pt x="1153" y="633"/>
                      <a:pt x="1145" y="640"/>
                      <a:pt x="1137" y="647"/>
                    </a:cubicBezTo>
                    <a:cubicBezTo>
                      <a:pt x="1129" y="654"/>
                      <a:pt x="1121" y="661"/>
                      <a:pt x="1113" y="669"/>
                    </a:cubicBezTo>
                    <a:cubicBezTo>
                      <a:pt x="1097" y="683"/>
                      <a:pt x="1080" y="698"/>
                      <a:pt x="1063" y="712"/>
                    </a:cubicBezTo>
                    <a:cubicBezTo>
                      <a:pt x="1047" y="726"/>
                      <a:pt x="1029" y="740"/>
                      <a:pt x="1011" y="752"/>
                    </a:cubicBezTo>
                    <a:cubicBezTo>
                      <a:pt x="993" y="764"/>
                      <a:pt x="975" y="775"/>
                      <a:pt x="955" y="781"/>
                    </a:cubicBezTo>
                    <a:cubicBezTo>
                      <a:pt x="940" y="786"/>
                      <a:pt x="924" y="788"/>
                      <a:pt x="908" y="787"/>
                    </a:cubicBezTo>
                    <a:cubicBezTo>
                      <a:pt x="892" y="786"/>
                      <a:pt x="877" y="782"/>
                      <a:pt x="861" y="775"/>
                    </a:cubicBezTo>
                    <a:cubicBezTo>
                      <a:pt x="845" y="768"/>
                      <a:pt x="830" y="759"/>
                      <a:pt x="815" y="749"/>
                    </a:cubicBezTo>
                    <a:cubicBezTo>
                      <a:pt x="800" y="738"/>
                      <a:pt x="786" y="726"/>
                      <a:pt x="771" y="714"/>
                    </a:cubicBezTo>
                    <a:cubicBezTo>
                      <a:pt x="742" y="688"/>
                      <a:pt x="713" y="661"/>
                      <a:pt x="683" y="634"/>
                    </a:cubicBezTo>
                    <a:cubicBezTo>
                      <a:pt x="672" y="624"/>
                      <a:pt x="672" y="624"/>
                      <a:pt x="672" y="624"/>
                    </a:cubicBezTo>
                    <a:cubicBezTo>
                      <a:pt x="661" y="615"/>
                      <a:pt x="661" y="615"/>
                      <a:pt x="661" y="615"/>
                    </a:cubicBezTo>
                    <a:cubicBezTo>
                      <a:pt x="640" y="594"/>
                      <a:pt x="640" y="594"/>
                      <a:pt x="640" y="594"/>
                    </a:cubicBezTo>
                    <a:cubicBezTo>
                      <a:pt x="625" y="581"/>
                      <a:pt x="611" y="567"/>
                      <a:pt x="595" y="553"/>
                    </a:cubicBezTo>
                    <a:cubicBezTo>
                      <a:pt x="565" y="526"/>
                      <a:pt x="531" y="500"/>
                      <a:pt x="492" y="480"/>
                    </a:cubicBezTo>
                    <a:cubicBezTo>
                      <a:pt x="472" y="470"/>
                      <a:pt x="451" y="462"/>
                      <a:pt x="429" y="458"/>
                    </a:cubicBezTo>
                    <a:cubicBezTo>
                      <a:pt x="418" y="455"/>
                      <a:pt x="407" y="453"/>
                      <a:pt x="396" y="453"/>
                    </a:cubicBezTo>
                    <a:cubicBezTo>
                      <a:pt x="390" y="452"/>
                      <a:pt x="384" y="452"/>
                      <a:pt x="379" y="452"/>
                    </a:cubicBezTo>
                    <a:cubicBezTo>
                      <a:pt x="373" y="452"/>
                      <a:pt x="366" y="452"/>
                      <a:pt x="360" y="453"/>
                    </a:cubicBezTo>
                    <a:cubicBezTo>
                      <a:pt x="335" y="456"/>
                      <a:pt x="312" y="466"/>
                      <a:pt x="292" y="480"/>
                    </a:cubicBezTo>
                    <a:cubicBezTo>
                      <a:pt x="272" y="495"/>
                      <a:pt x="256" y="514"/>
                      <a:pt x="245" y="536"/>
                    </a:cubicBezTo>
                    <a:cubicBezTo>
                      <a:pt x="240" y="547"/>
                      <a:pt x="236" y="559"/>
                      <a:pt x="234" y="571"/>
                    </a:cubicBezTo>
                    <a:cubicBezTo>
                      <a:pt x="232" y="577"/>
                      <a:pt x="232" y="583"/>
                      <a:pt x="231" y="589"/>
                    </a:cubicBezTo>
                    <a:cubicBezTo>
                      <a:pt x="231" y="592"/>
                      <a:pt x="231" y="596"/>
                      <a:pt x="231" y="599"/>
                    </a:cubicBezTo>
                    <a:cubicBezTo>
                      <a:pt x="231" y="606"/>
                      <a:pt x="231" y="606"/>
                      <a:pt x="231" y="606"/>
                    </a:cubicBezTo>
                    <a:cubicBezTo>
                      <a:pt x="231" y="626"/>
                      <a:pt x="231" y="645"/>
                      <a:pt x="231" y="664"/>
                    </a:cubicBezTo>
                    <a:cubicBezTo>
                      <a:pt x="231" y="714"/>
                      <a:pt x="231" y="763"/>
                      <a:pt x="231" y="812"/>
                    </a:cubicBezTo>
                    <a:cubicBezTo>
                      <a:pt x="231" y="821"/>
                      <a:pt x="231" y="829"/>
                      <a:pt x="231" y="838"/>
                    </a:cubicBezTo>
                    <a:cubicBezTo>
                      <a:pt x="231" y="839"/>
                      <a:pt x="231" y="841"/>
                      <a:pt x="230" y="842"/>
                    </a:cubicBezTo>
                    <a:cubicBezTo>
                      <a:pt x="229" y="843"/>
                      <a:pt x="227" y="843"/>
                      <a:pt x="226" y="843"/>
                    </a:cubicBezTo>
                    <a:cubicBezTo>
                      <a:pt x="223" y="843"/>
                      <a:pt x="223" y="843"/>
                      <a:pt x="223" y="843"/>
                    </a:cubicBezTo>
                    <a:cubicBezTo>
                      <a:pt x="218" y="844"/>
                      <a:pt x="218" y="844"/>
                      <a:pt x="218" y="844"/>
                    </a:cubicBezTo>
                    <a:cubicBezTo>
                      <a:pt x="212" y="844"/>
                      <a:pt x="206" y="844"/>
                      <a:pt x="200" y="844"/>
                    </a:cubicBezTo>
                    <a:cubicBezTo>
                      <a:pt x="182" y="844"/>
                      <a:pt x="182" y="844"/>
                      <a:pt x="182" y="844"/>
                    </a:cubicBezTo>
                    <a:cubicBezTo>
                      <a:pt x="178" y="844"/>
                      <a:pt x="178" y="844"/>
                      <a:pt x="178" y="844"/>
                    </a:cubicBezTo>
                    <a:cubicBezTo>
                      <a:pt x="177" y="844"/>
                      <a:pt x="175" y="844"/>
                      <a:pt x="174" y="844"/>
                    </a:cubicBezTo>
                    <a:cubicBezTo>
                      <a:pt x="172" y="844"/>
                      <a:pt x="169" y="844"/>
                      <a:pt x="167" y="844"/>
                    </a:cubicBezTo>
                    <a:cubicBezTo>
                      <a:pt x="147" y="841"/>
                      <a:pt x="127" y="834"/>
                      <a:pt x="109" y="823"/>
                    </a:cubicBezTo>
                    <a:cubicBezTo>
                      <a:pt x="92" y="812"/>
                      <a:pt x="77" y="798"/>
                      <a:pt x="68" y="781"/>
                    </a:cubicBezTo>
                    <a:cubicBezTo>
                      <a:pt x="64" y="773"/>
                      <a:pt x="61" y="765"/>
                      <a:pt x="60" y="756"/>
                    </a:cubicBezTo>
                    <a:cubicBezTo>
                      <a:pt x="59" y="754"/>
                      <a:pt x="59" y="752"/>
                      <a:pt x="59" y="750"/>
                    </a:cubicBezTo>
                    <a:cubicBezTo>
                      <a:pt x="59" y="741"/>
                      <a:pt x="59" y="741"/>
                      <a:pt x="59" y="741"/>
                    </a:cubicBezTo>
                    <a:cubicBezTo>
                      <a:pt x="59" y="723"/>
                      <a:pt x="59" y="723"/>
                      <a:pt x="59" y="723"/>
                    </a:cubicBezTo>
                    <a:cubicBezTo>
                      <a:pt x="59" y="698"/>
                      <a:pt x="59" y="673"/>
                      <a:pt x="59" y="648"/>
                    </a:cubicBezTo>
                    <a:cubicBezTo>
                      <a:pt x="59" y="452"/>
                      <a:pt x="59" y="71"/>
                      <a:pt x="59" y="63"/>
                    </a:cubicBezTo>
                    <a:cubicBezTo>
                      <a:pt x="59" y="55"/>
                      <a:pt x="62" y="55"/>
                      <a:pt x="67" y="55"/>
                    </a:cubicBezTo>
                    <a:cubicBezTo>
                      <a:pt x="71" y="55"/>
                      <a:pt x="115" y="54"/>
                      <a:pt x="139" y="54"/>
                    </a:cubicBezTo>
                    <a:cubicBezTo>
                      <a:pt x="157" y="54"/>
                      <a:pt x="175" y="54"/>
                      <a:pt x="193" y="54"/>
                    </a:cubicBezTo>
                    <a:cubicBezTo>
                      <a:pt x="206" y="54"/>
                      <a:pt x="206" y="54"/>
                      <a:pt x="206" y="54"/>
                    </a:cubicBezTo>
                    <a:cubicBezTo>
                      <a:pt x="213" y="54"/>
                      <a:pt x="213" y="54"/>
                      <a:pt x="213" y="54"/>
                    </a:cubicBezTo>
                    <a:cubicBezTo>
                      <a:pt x="218" y="54"/>
                      <a:pt x="218" y="54"/>
                      <a:pt x="218" y="54"/>
                    </a:cubicBezTo>
                    <a:cubicBezTo>
                      <a:pt x="226" y="55"/>
                      <a:pt x="234" y="56"/>
                      <a:pt x="242" y="57"/>
                    </a:cubicBezTo>
                    <a:cubicBezTo>
                      <a:pt x="272" y="62"/>
                      <a:pt x="302" y="75"/>
                      <a:pt x="326" y="93"/>
                    </a:cubicBezTo>
                    <a:cubicBezTo>
                      <a:pt x="330" y="96"/>
                      <a:pt x="333" y="98"/>
                      <a:pt x="336" y="101"/>
                    </a:cubicBezTo>
                    <a:cubicBezTo>
                      <a:pt x="339" y="103"/>
                      <a:pt x="341" y="105"/>
                      <a:pt x="344" y="109"/>
                    </a:cubicBezTo>
                    <a:cubicBezTo>
                      <a:pt x="351" y="115"/>
                      <a:pt x="357" y="121"/>
                      <a:pt x="364" y="126"/>
                    </a:cubicBezTo>
                    <a:cubicBezTo>
                      <a:pt x="377" y="138"/>
                      <a:pt x="389" y="150"/>
                      <a:pt x="402" y="162"/>
                    </a:cubicBezTo>
                    <a:cubicBezTo>
                      <a:pt x="427" y="185"/>
                      <a:pt x="452" y="209"/>
                      <a:pt x="477" y="231"/>
                    </a:cubicBezTo>
                    <a:cubicBezTo>
                      <a:pt x="489" y="243"/>
                      <a:pt x="501" y="254"/>
                      <a:pt x="513" y="265"/>
                    </a:cubicBezTo>
                    <a:cubicBezTo>
                      <a:pt x="519" y="271"/>
                      <a:pt x="525" y="276"/>
                      <a:pt x="531" y="282"/>
                    </a:cubicBezTo>
                    <a:cubicBezTo>
                      <a:pt x="534" y="284"/>
                      <a:pt x="537" y="287"/>
                      <a:pt x="540" y="289"/>
                    </a:cubicBezTo>
                    <a:cubicBezTo>
                      <a:pt x="543" y="292"/>
                      <a:pt x="546" y="295"/>
                      <a:pt x="549" y="298"/>
                    </a:cubicBezTo>
                    <a:cubicBezTo>
                      <a:pt x="573" y="321"/>
                      <a:pt x="600" y="341"/>
                      <a:pt x="627" y="358"/>
                    </a:cubicBezTo>
                    <a:cubicBezTo>
                      <a:pt x="681" y="391"/>
                      <a:pt x="737" y="412"/>
                      <a:pt x="789" y="423"/>
                    </a:cubicBezTo>
                    <a:cubicBezTo>
                      <a:pt x="834" y="433"/>
                      <a:pt x="878" y="437"/>
                      <a:pt x="921" y="436"/>
                    </a:cubicBezTo>
                    <a:cubicBezTo>
                      <a:pt x="963" y="435"/>
                      <a:pt x="1005" y="429"/>
                      <a:pt x="1044" y="419"/>
                    </a:cubicBezTo>
                    <a:cubicBezTo>
                      <a:pt x="1086" y="409"/>
                      <a:pt x="1124" y="394"/>
                      <a:pt x="1157" y="377"/>
                    </a:cubicBezTo>
                    <a:cubicBezTo>
                      <a:pt x="1190" y="359"/>
                      <a:pt x="1217" y="340"/>
                      <a:pt x="1239" y="322"/>
                    </a:cubicBezTo>
                    <a:cubicBezTo>
                      <a:pt x="1250" y="313"/>
                      <a:pt x="1260" y="304"/>
                      <a:pt x="1269" y="295"/>
                    </a:cubicBezTo>
                    <a:cubicBezTo>
                      <a:pt x="1277" y="287"/>
                      <a:pt x="1285" y="279"/>
                      <a:pt x="1292" y="272"/>
                    </a:cubicBezTo>
                    <a:cubicBezTo>
                      <a:pt x="1305" y="258"/>
                      <a:pt x="1315" y="248"/>
                      <a:pt x="1322" y="241"/>
                    </a:cubicBezTo>
                    <a:cubicBezTo>
                      <a:pt x="1338" y="224"/>
                      <a:pt x="1351" y="210"/>
                      <a:pt x="1361" y="200"/>
                    </a:cubicBezTo>
                    <a:cubicBezTo>
                      <a:pt x="1362" y="198"/>
                      <a:pt x="1363" y="197"/>
                      <a:pt x="1364" y="196"/>
                    </a:cubicBezTo>
                    <a:cubicBezTo>
                      <a:pt x="1373" y="187"/>
                      <a:pt x="1378" y="180"/>
                      <a:pt x="1380" y="177"/>
                    </a:cubicBezTo>
                    <a:cubicBezTo>
                      <a:pt x="1383" y="173"/>
                      <a:pt x="1383" y="171"/>
                      <a:pt x="1379" y="174"/>
                    </a:cubicBezTo>
                    <a:cubicBezTo>
                      <a:pt x="1374" y="176"/>
                      <a:pt x="1369" y="180"/>
                      <a:pt x="1360" y="187"/>
                    </a:cubicBezTo>
                    <a:cubicBezTo>
                      <a:pt x="1348" y="196"/>
                      <a:pt x="1332" y="209"/>
                      <a:pt x="1312" y="226"/>
                    </a:cubicBezTo>
                    <a:cubicBezTo>
                      <a:pt x="1301" y="235"/>
                      <a:pt x="1290" y="245"/>
                      <a:pt x="1277" y="256"/>
                    </a:cubicBezTo>
                    <a:cubicBezTo>
                      <a:pt x="1270" y="262"/>
                      <a:pt x="1263" y="268"/>
                      <a:pt x="1256" y="274"/>
                    </a:cubicBezTo>
                    <a:cubicBezTo>
                      <a:pt x="1249" y="281"/>
                      <a:pt x="1241" y="287"/>
                      <a:pt x="1233" y="293"/>
                    </a:cubicBezTo>
                    <a:cubicBezTo>
                      <a:pt x="1200" y="319"/>
                      <a:pt x="1157" y="346"/>
                      <a:pt x="1101" y="366"/>
                    </a:cubicBezTo>
                    <a:cubicBezTo>
                      <a:pt x="1045" y="386"/>
                      <a:pt x="976" y="400"/>
                      <a:pt x="896" y="396"/>
                    </a:cubicBezTo>
                    <a:cubicBezTo>
                      <a:pt x="883" y="394"/>
                      <a:pt x="857" y="393"/>
                      <a:pt x="822" y="386"/>
                    </a:cubicBezTo>
                    <a:cubicBezTo>
                      <a:pt x="788" y="379"/>
                      <a:pt x="744" y="367"/>
                      <a:pt x="700" y="346"/>
                    </a:cubicBezTo>
                    <a:cubicBezTo>
                      <a:pt x="678" y="335"/>
                      <a:pt x="656" y="322"/>
                      <a:pt x="635" y="307"/>
                    </a:cubicBezTo>
                    <a:cubicBezTo>
                      <a:pt x="613" y="292"/>
                      <a:pt x="593" y="275"/>
                      <a:pt x="574" y="256"/>
                    </a:cubicBezTo>
                    <a:cubicBezTo>
                      <a:pt x="533" y="218"/>
                      <a:pt x="493" y="179"/>
                      <a:pt x="456" y="144"/>
                    </a:cubicBezTo>
                    <a:cubicBezTo>
                      <a:pt x="430" y="119"/>
                      <a:pt x="403" y="94"/>
                      <a:pt x="377" y="69"/>
                    </a:cubicBezTo>
                    <a:cubicBezTo>
                      <a:pt x="348" y="42"/>
                      <a:pt x="313" y="21"/>
                      <a:pt x="274" y="11"/>
                    </a:cubicBezTo>
                    <a:cubicBezTo>
                      <a:pt x="255" y="5"/>
                      <a:pt x="236" y="2"/>
                      <a:pt x="216" y="1"/>
                    </a:cubicBezTo>
                    <a:cubicBezTo>
                      <a:pt x="198" y="1"/>
                      <a:pt x="180" y="1"/>
                      <a:pt x="162" y="1"/>
                    </a:cubicBezTo>
                    <a:cubicBezTo>
                      <a:pt x="123" y="1"/>
                      <a:pt x="75" y="0"/>
                      <a:pt x="44" y="0"/>
                    </a:cubicBezTo>
                    <a:cubicBezTo>
                      <a:pt x="13" y="0"/>
                      <a:pt x="4" y="18"/>
                      <a:pt x="4" y="40"/>
                    </a:cubicBezTo>
                    <a:cubicBezTo>
                      <a:pt x="4" y="62"/>
                      <a:pt x="3" y="147"/>
                      <a:pt x="3" y="202"/>
                    </a:cubicBezTo>
                    <a:cubicBezTo>
                      <a:pt x="2" y="288"/>
                      <a:pt x="2" y="374"/>
                      <a:pt x="1" y="463"/>
                    </a:cubicBezTo>
                    <a:cubicBezTo>
                      <a:pt x="1" y="550"/>
                      <a:pt x="1" y="640"/>
                      <a:pt x="0" y="732"/>
                    </a:cubicBezTo>
                    <a:cubicBezTo>
                      <a:pt x="0" y="738"/>
                      <a:pt x="0" y="743"/>
                      <a:pt x="0" y="749"/>
                    </a:cubicBezTo>
                    <a:cubicBezTo>
                      <a:pt x="0" y="757"/>
                      <a:pt x="1" y="765"/>
                      <a:pt x="3" y="772"/>
                    </a:cubicBezTo>
                    <a:cubicBezTo>
                      <a:pt x="5" y="787"/>
                      <a:pt x="11" y="801"/>
                      <a:pt x="18" y="814"/>
                    </a:cubicBezTo>
                    <a:cubicBezTo>
                      <a:pt x="33" y="839"/>
                      <a:pt x="54" y="858"/>
                      <a:pt x="77" y="873"/>
                    </a:cubicBezTo>
                    <a:cubicBezTo>
                      <a:pt x="100" y="887"/>
                      <a:pt x="126" y="897"/>
                      <a:pt x="153" y="902"/>
                    </a:cubicBezTo>
                    <a:cubicBezTo>
                      <a:pt x="160" y="903"/>
                      <a:pt x="167" y="903"/>
                      <a:pt x="175" y="904"/>
                    </a:cubicBezTo>
                    <a:cubicBezTo>
                      <a:pt x="184" y="904"/>
                      <a:pt x="184" y="904"/>
                      <a:pt x="184" y="904"/>
                    </a:cubicBezTo>
                    <a:cubicBezTo>
                      <a:pt x="193" y="904"/>
                      <a:pt x="193" y="904"/>
                      <a:pt x="193" y="904"/>
                    </a:cubicBezTo>
                    <a:cubicBezTo>
                      <a:pt x="199" y="904"/>
                      <a:pt x="205" y="904"/>
                      <a:pt x="211" y="903"/>
                    </a:cubicBezTo>
                    <a:cubicBezTo>
                      <a:pt x="221" y="903"/>
                      <a:pt x="221" y="903"/>
                      <a:pt x="221" y="903"/>
                    </a:cubicBezTo>
                    <a:cubicBezTo>
                      <a:pt x="226" y="903"/>
                      <a:pt x="226" y="903"/>
                      <a:pt x="226" y="903"/>
                    </a:cubicBezTo>
                    <a:cubicBezTo>
                      <a:pt x="228" y="903"/>
                      <a:pt x="231" y="903"/>
                      <a:pt x="233" y="902"/>
                    </a:cubicBezTo>
                    <a:cubicBezTo>
                      <a:pt x="244" y="901"/>
                      <a:pt x="254" y="900"/>
                      <a:pt x="263" y="897"/>
                    </a:cubicBezTo>
                    <a:cubicBezTo>
                      <a:pt x="267" y="895"/>
                      <a:pt x="271" y="892"/>
                      <a:pt x="275" y="889"/>
                    </a:cubicBezTo>
                    <a:cubicBezTo>
                      <a:pt x="279" y="886"/>
                      <a:pt x="282" y="882"/>
                      <a:pt x="284" y="878"/>
                    </a:cubicBezTo>
                    <a:cubicBezTo>
                      <a:pt x="286" y="874"/>
                      <a:pt x="288" y="870"/>
                      <a:pt x="289" y="865"/>
                    </a:cubicBezTo>
                    <a:cubicBezTo>
                      <a:pt x="290" y="863"/>
                      <a:pt x="290" y="860"/>
                      <a:pt x="290" y="858"/>
                    </a:cubicBezTo>
                    <a:cubicBezTo>
                      <a:pt x="290" y="855"/>
                      <a:pt x="290" y="853"/>
                      <a:pt x="290" y="850"/>
                    </a:cubicBezTo>
                    <a:cubicBezTo>
                      <a:pt x="291" y="835"/>
                      <a:pt x="291" y="835"/>
                      <a:pt x="291" y="835"/>
                    </a:cubicBezTo>
                    <a:cubicBezTo>
                      <a:pt x="291" y="825"/>
                      <a:pt x="291" y="825"/>
                      <a:pt x="291" y="825"/>
                    </a:cubicBezTo>
                    <a:cubicBezTo>
                      <a:pt x="291" y="802"/>
                      <a:pt x="291" y="778"/>
                      <a:pt x="291" y="755"/>
                    </a:cubicBezTo>
                    <a:cubicBezTo>
                      <a:pt x="291" y="707"/>
                      <a:pt x="291" y="660"/>
                      <a:pt x="291" y="613"/>
                    </a:cubicBezTo>
                    <a:cubicBezTo>
                      <a:pt x="291" y="604"/>
                      <a:pt x="291" y="604"/>
                      <a:pt x="291" y="604"/>
                    </a:cubicBezTo>
                    <a:cubicBezTo>
                      <a:pt x="291" y="600"/>
                      <a:pt x="291" y="600"/>
                      <a:pt x="291" y="600"/>
                    </a:cubicBezTo>
                    <a:cubicBezTo>
                      <a:pt x="291" y="599"/>
                      <a:pt x="291" y="598"/>
                      <a:pt x="291" y="596"/>
                    </a:cubicBezTo>
                    <a:cubicBezTo>
                      <a:pt x="291" y="592"/>
                      <a:pt x="292" y="588"/>
                      <a:pt x="292" y="583"/>
                    </a:cubicBezTo>
                    <a:cubicBezTo>
                      <a:pt x="294" y="575"/>
                      <a:pt x="297" y="566"/>
                      <a:pt x="301" y="559"/>
                    </a:cubicBezTo>
                    <a:cubicBezTo>
                      <a:pt x="309" y="543"/>
                      <a:pt x="323" y="530"/>
                      <a:pt x="338" y="522"/>
                    </a:cubicBezTo>
                    <a:cubicBezTo>
                      <a:pt x="346" y="518"/>
                      <a:pt x="354" y="515"/>
                      <a:pt x="362" y="513"/>
                    </a:cubicBezTo>
                    <a:cubicBezTo>
                      <a:pt x="366" y="512"/>
                      <a:pt x="371" y="512"/>
                      <a:pt x="375" y="512"/>
                    </a:cubicBezTo>
                    <a:cubicBezTo>
                      <a:pt x="377" y="512"/>
                      <a:pt x="380" y="512"/>
                      <a:pt x="382" y="512"/>
                    </a:cubicBezTo>
                    <a:cubicBezTo>
                      <a:pt x="385" y="512"/>
                      <a:pt x="387" y="512"/>
                      <a:pt x="390" y="512"/>
                    </a:cubicBezTo>
                    <a:cubicBezTo>
                      <a:pt x="410" y="514"/>
                      <a:pt x="429" y="518"/>
                      <a:pt x="448" y="526"/>
                    </a:cubicBezTo>
                    <a:cubicBezTo>
                      <a:pt x="486" y="541"/>
                      <a:pt x="521" y="567"/>
                      <a:pt x="555" y="596"/>
                    </a:cubicBezTo>
                    <a:cubicBezTo>
                      <a:pt x="571" y="611"/>
                      <a:pt x="588" y="626"/>
                      <a:pt x="604" y="641"/>
                    </a:cubicBezTo>
                    <a:cubicBezTo>
                      <a:pt x="612" y="649"/>
                      <a:pt x="621" y="657"/>
                      <a:pt x="629" y="665"/>
                    </a:cubicBezTo>
                    <a:cubicBezTo>
                      <a:pt x="638" y="672"/>
                      <a:pt x="646" y="679"/>
                      <a:pt x="654" y="687"/>
                    </a:cubicBezTo>
                    <a:cubicBezTo>
                      <a:pt x="688" y="716"/>
                      <a:pt x="720" y="747"/>
                      <a:pt x="755" y="775"/>
                    </a:cubicBezTo>
                    <a:cubicBezTo>
                      <a:pt x="773" y="789"/>
                      <a:pt x="792" y="802"/>
                      <a:pt x="812" y="814"/>
                    </a:cubicBezTo>
                    <a:cubicBezTo>
                      <a:pt x="832" y="825"/>
                      <a:pt x="855" y="835"/>
                      <a:pt x="879" y="839"/>
                    </a:cubicBezTo>
                    <a:cubicBezTo>
                      <a:pt x="903" y="844"/>
                      <a:pt x="929" y="844"/>
                      <a:pt x="952" y="839"/>
                    </a:cubicBezTo>
                    <a:cubicBezTo>
                      <a:pt x="976" y="834"/>
                      <a:pt x="997" y="824"/>
                      <a:pt x="1016" y="814"/>
                    </a:cubicBezTo>
                    <a:cubicBezTo>
                      <a:pt x="1035" y="803"/>
                      <a:pt x="1052" y="790"/>
                      <a:pt x="1068" y="778"/>
                    </a:cubicBezTo>
                    <a:cubicBezTo>
                      <a:pt x="1084" y="765"/>
                      <a:pt x="1099" y="752"/>
                      <a:pt x="1114" y="739"/>
                    </a:cubicBezTo>
                    <a:cubicBezTo>
                      <a:pt x="1128" y="726"/>
                      <a:pt x="1142" y="713"/>
                      <a:pt x="1155" y="701"/>
                    </a:cubicBezTo>
                    <a:cubicBezTo>
                      <a:pt x="1162" y="694"/>
                      <a:pt x="1169" y="688"/>
                      <a:pt x="1176" y="682"/>
                    </a:cubicBezTo>
                    <a:cubicBezTo>
                      <a:pt x="1182" y="676"/>
                      <a:pt x="1189" y="670"/>
                      <a:pt x="1196" y="664"/>
                    </a:cubicBezTo>
                    <a:cubicBezTo>
                      <a:pt x="1223" y="639"/>
                      <a:pt x="1247" y="615"/>
                      <a:pt x="1271" y="593"/>
                    </a:cubicBezTo>
                    <a:cubicBezTo>
                      <a:pt x="1294" y="573"/>
                      <a:pt x="1316" y="554"/>
                      <a:pt x="1340" y="540"/>
                    </a:cubicBezTo>
                    <a:cubicBezTo>
                      <a:pt x="1363" y="525"/>
                      <a:pt x="1386" y="515"/>
                      <a:pt x="1410" y="509"/>
                    </a:cubicBezTo>
                    <a:cubicBezTo>
                      <a:pt x="1421" y="506"/>
                      <a:pt x="1433" y="504"/>
                      <a:pt x="1444" y="503"/>
                    </a:cubicBezTo>
                    <a:cubicBezTo>
                      <a:pt x="1446" y="503"/>
                      <a:pt x="1449" y="503"/>
                      <a:pt x="1452" y="503"/>
                    </a:cubicBezTo>
                    <a:cubicBezTo>
                      <a:pt x="1455" y="503"/>
                      <a:pt x="1457" y="503"/>
                      <a:pt x="1460" y="503"/>
                    </a:cubicBezTo>
                    <a:cubicBezTo>
                      <a:pt x="1464" y="503"/>
                      <a:pt x="1469" y="504"/>
                      <a:pt x="1474" y="505"/>
                    </a:cubicBezTo>
                    <a:cubicBezTo>
                      <a:pt x="1493" y="509"/>
                      <a:pt x="1509" y="519"/>
                      <a:pt x="1522" y="531"/>
                    </a:cubicBezTo>
                    <a:cubicBezTo>
                      <a:pt x="1535" y="544"/>
                      <a:pt x="1543" y="559"/>
                      <a:pt x="1548" y="574"/>
                    </a:cubicBezTo>
                    <a:cubicBezTo>
                      <a:pt x="1550" y="582"/>
                      <a:pt x="1551" y="590"/>
                      <a:pt x="1552" y="598"/>
                    </a:cubicBezTo>
                    <a:cubicBezTo>
                      <a:pt x="1552" y="607"/>
                      <a:pt x="1552" y="616"/>
                      <a:pt x="1552" y="624"/>
                    </a:cubicBezTo>
                    <a:cubicBezTo>
                      <a:pt x="1553" y="659"/>
                      <a:pt x="1554" y="692"/>
                      <a:pt x="1555" y="724"/>
                    </a:cubicBezTo>
                    <a:cubicBezTo>
                      <a:pt x="1555" y="732"/>
                      <a:pt x="1556" y="739"/>
                      <a:pt x="1556" y="747"/>
                    </a:cubicBezTo>
                    <a:cubicBezTo>
                      <a:pt x="1556" y="749"/>
                      <a:pt x="1556" y="752"/>
                      <a:pt x="1556" y="754"/>
                    </a:cubicBezTo>
                    <a:cubicBezTo>
                      <a:pt x="1556" y="756"/>
                      <a:pt x="1556" y="758"/>
                      <a:pt x="1557" y="761"/>
                    </a:cubicBezTo>
                    <a:cubicBezTo>
                      <a:pt x="1557" y="765"/>
                      <a:pt x="1558" y="769"/>
                      <a:pt x="1559" y="774"/>
                    </a:cubicBezTo>
                    <a:cubicBezTo>
                      <a:pt x="1564" y="791"/>
                      <a:pt x="1573" y="806"/>
                      <a:pt x="1584" y="819"/>
                    </a:cubicBezTo>
                    <a:cubicBezTo>
                      <a:pt x="1602" y="841"/>
                      <a:pt x="1628" y="858"/>
                      <a:pt x="1656" y="869"/>
                    </a:cubicBezTo>
                    <a:cubicBezTo>
                      <a:pt x="1670" y="875"/>
                      <a:pt x="1685" y="879"/>
                      <a:pt x="1700" y="881"/>
                    </a:cubicBezTo>
                    <a:cubicBezTo>
                      <a:pt x="1708" y="882"/>
                      <a:pt x="1716" y="882"/>
                      <a:pt x="1723" y="882"/>
                    </a:cubicBezTo>
                    <a:cubicBezTo>
                      <a:pt x="1731" y="882"/>
                      <a:pt x="1738" y="881"/>
                      <a:pt x="1745" y="881"/>
                    </a:cubicBezTo>
                    <a:cubicBezTo>
                      <a:pt x="1749" y="881"/>
                      <a:pt x="1752" y="881"/>
                      <a:pt x="1756" y="880"/>
                    </a:cubicBezTo>
                    <a:cubicBezTo>
                      <a:pt x="1759" y="880"/>
                      <a:pt x="1763" y="880"/>
                      <a:pt x="1767" y="880"/>
                    </a:cubicBezTo>
                    <a:cubicBezTo>
                      <a:pt x="1775" y="879"/>
                      <a:pt x="1783" y="878"/>
                      <a:pt x="1790" y="876"/>
                    </a:cubicBezTo>
                    <a:cubicBezTo>
                      <a:pt x="1792" y="875"/>
                      <a:pt x="1794" y="875"/>
                      <a:pt x="1795" y="874"/>
                    </a:cubicBezTo>
                    <a:cubicBezTo>
                      <a:pt x="1797" y="873"/>
                      <a:pt x="1799" y="872"/>
                      <a:pt x="1800" y="870"/>
                    </a:cubicBezTo>
                    <a:cubicBezTo>
                      <a:pt x="1803" y="868"/>
                      <a:pt x="1804" y="864"/>
                      <a:pt x="1805" y="861"/>
                    </a:cubicBezTo>
                    <a:cubicBezTo>
                      <a:pt x="1807" y="854"/>
                      <a:pt x="1806" y="846"/>
                      <a:pt x="1806" y="839"/>
                    </a:cubicBezTo>
                    <a:cubicBezTo>
                      <a:pt x="1806" y="836"/>
                      <a:pt x="1806" y="832"/>
                      <a:pt x="1806" y="829"/>
                    </a:cubicBezTo>
                    <a:close/>
                    <a:moveTo>
                      <a:pt x="1637" y="843"/>
                    </a:moveTo>
                    <a:cubicBezTo>
                      <a:pt x="1633" y="842"/>
                      <a:pt x="1627" y="839"/>
                      <a:pt x="1619" y="834"/>
                    </a:cubicBezTo>
                    <a:cubicBezTo>
                      <a:pt x="1611" y="829"/>
                      <a:pt x="1602" y="822"/>
                      <a:pt x="1592" y="811"/>
                    </a:cubicBezTo>
                    <a:cubicBezTo>
                      <a:pt x="1585" y="803"/>
                      <a:pt x="1579" y="794"/>
                      <a:pt x="1573" y="783"/>
                    </a:cubicBezTo>
                    <a:cubicBezTo>
                      <a:pt x="1571" y="777"/>
                      <a:pt x="1569" y="771"/>
                      <a:pt x="1567" y="765"/>
                    </a:cubicBezTo>
                    <a:cubicBezTo>
                      <a:pt x="1566" y="761"/>
                      <a:pt x="1566" y="758"/>
                      <a:pt x="1566" y="754"/>
                    </a:cubicBezTo>
                    <a:cubicBezTo>
                      <a:pt x="1565" y="752"/>
                      <a:pt x="1565" y="750"/>
                      <a:pt x="1565" y="749"/>
                    </a:cubicBezTo>
                    <a:cubicBezTo>
                      <a:pt x="1565" y="747"/>
                      <a:pt x="1565" y="745"/>
                      <a:pt x="1565" y="743"/>
                    </a:cubicBezTo>
                    <a:cubicBezTo>
                      <a:pt x="1564" y="720"/>
                      <a:pt x="1563" y="693"/>
                      <a:pt x="1562" y="663"/>
                    </a:cubicBezTo>
                    <a:cubicBezTo>
                      <a:pt x="1562" y="648"/>
                      <a:pt x="1562" y="632"/>
                      <a:pt x="1561" y="615"/>
                    </a:cubicBezTo>
                    <a:cubicBezTo>
                      <a:pt x="1561" y="611"/>
                      <a:pt x="1561" y="607"/>
                      <a:pt x="1561" y="602"/>
                    </a:cubicBezTo>
                    <a:cubicBezTo>
                      <a:pt x="1561" y="600"/>
                      <a:pt x="1561" y="598"/>
                      <a:pt x="1561" y="596"/>
                    </a:cubicBezTo>
                    <a:cubicBezTo>
                      <a:pt x="1560" y="594"/>
                      <a:pt x="1560" y="592"/>
                      <a:pt x="1560" y="590"/>
                    </a:cubicBezTo>
                    <a:cubicBezTo>
                      <a:pt x="1559" y="582"/>
                      <a:pt x="1557" y="574"/>
                      <a:pt x="1554" y="566"/>
                    </a:cubicBezTo>
                    <a:cubicBezTo>
                      <a:pt x="1549" y="550"/>
                      <a:pt x="1539" y="535"/>
                      <a:pt x="1526" y="523"/>
                    </a:cubicBezTo>
                    <a:cubicBezTo>
                      <a:pt x="1513" y="510"/>
                      <a:pt x="1496" y="501"/>
                      <a:pt x="1477" y="497"/>
                    </a:cubicBezTo>
                    <a:cubicBezTo>
                      <a:pt x="1472" y="496"/>
                      <a:pt x="1468" y="495"/>
                      <a:pt x="1463" y="495"/>
                    </a:cubicBezTo>
                    <a:cubicBezTo>
                      <a:pt x="1458" y="494"/>
                      <a:pt x="1453" y="494"/>
                      <a:pt x="1448" y="494"/>
                    </a:cubicBezTo>
                    <a:cubicBezTo>
                      <a:pt x="1438" y="495"/>
                      <a:pt x="1427" y="496"/>
                      <a:pt x="1417" y="498"/>
                    </a:cubicBezTo>
                    <a:cubicBezTo>
                      <a:pt x="1396" y="503"/>
                      <a:pt x="1375" y="510"/>
                      <a:pt x="1355" y="521"/>
                    </a:cubicBezTo>
                    <a:cubicBezTo>
                      <a:pt x="1335" y="532"/>
                      <a:pt x="1315" y="546"/>
                      <a:pt x="1296" y="561"/>
                    </a:cubicBezTo>
                    <a:cubicBezTo>
                      <a:pt x="1276" y="576"/>
                      <a:pt x="1258" y="594"/>
                      <a:pt x="1239" y="612"/>
                    </a:cubicBezTo>
                    <a:cubicBezTo>
                      <a:pt x="1220" y="630"/>
                      <a:pt x="1200" y="649"/>
                      <a:pt x="1179" y="668"/>
                    </a:cubicBezTo>
                    <a:cubicBezTo>
                      <a:pt x="1159" y="687"/>
                      <a:pt x="1138" y="706"/>
                      <a:pt x="1117" y="726"/>
                    </a:cubicBezTo>
                    <a:cubicBezTo>
                      <a:pt x="1095" y="745"/>
                      <a:pt x="1073" y="765"/>
                      <a:pt x="1048" y="784"/>
                    </a:cubicBezTo>
                    <a:cubicBezTo>
                      <a:pt x="1036" y="793"/>
                      <a:pt x="1022" y="802"/>
                      <a:pt x="1008" y="810"/>
                    </a:cubicBezTo>
                    <a:cubicBezTo>
                      <a:pt x="994" y="818"/>
                      <a:pt x="978" y="824"/>
                      <a:pt x="962" y="829"/>
                    </a:cubicBezTo>
                    <a:cubicBezTo>
                      <a:pt x="945" y="834"/>
                      <a:pt x="927" y="836"/>
                      <a:pt x="910" y="836"/>
                    </a:cubicBezTo>
                    <a:cubicBezTo>
                      <a:pt x="892" y="835"/>
                      <a:pt x="874" y="832"/>
                      <a:pt x="857" y="827"/>
                    </a:cubicBezTo>
                    <a:cubicBezTo>
                      <a:pt x="840" y="821"/>
                      <a:pt x="825" y="813"/>
                      <a:pt x="810" y="805"/>
                    </a:cubicBezTo>
                    <a:cubicBezTo>
                      <a:pt x="795" y="796"/>
                      <a:pt x="781" y="786"/>
                      <a:pt x="767" y="776"/>
                    </a:cubicBezTo>
                    <a:cubicBezTo>
                      <a:pt x="741" y="756"/>
                      <a:pt x="716" y="733"/>
                      <a:pt x="691" y="711"/>
                    </a:cubicBezTo>
                    <a:cubicBezTo>
                      <a:pt x="678" y="700"/>
                      <a:pt x="666" y="689"/>
                      <a:pt x="653" y="678"/>
                    </a:cubicBezTo>
                    <a:cubicBezTo>
                      <a:pt x="647" y="672"/>
                      <a:pt x="641" y="666"/>
                      <a:pt x="634" y="661"/>
                    </a:cubicBezTo>
                    <a:cubicBezTo>
                      <a:pt x="628" y="655"/>
                      <a:pt x="621" y="649"/>
                      <a:pt x="615" y="643"/>
                    </a:cubicBezTo>
                    <a:cubicBezTo>
                      <a:pt x="590" y="620"/>
                      <a:pt x="565" y="597"/>
                      <a:pt x="539" y="576"/>
                    </a:cubicBezTo>
                    <a:cubicBezTo>
                      <a:pt x="513" y="555"/>
                      <a:pt x="486" y="536"/>
                      <a:pt x="456" y="523"/>
                    </a:cubicBezTo>
                    <a:cubicBezTo>
                      <a:pt x="442" y="517"/>
                      <a:pt x="427" y="512"/>
                      <a:pt x="411" y="510"/>
                    </a:cubicBezTo>
                    <a:cubicBezTo>
                      <a:pt x="403" y="508"/>
                      <a:pt x="396" y="507"/>
                      <a:pt x="388" y="507"/>
                    </a:cubicBezTo>
                    <a:cubicBezTo>
                      <a:pt x="384" y="507"/>
                      <a:pt x="380" y="506"/>
                      <a:pt x="376" y="507"/>
                    </a:cubicBezTo>
                    <a:cubicBezTo>
                      <a:pt x="373" y="507"/>
                      <a:pt x="369" y="507"/>
                      <a:pt x="366" y="507"/>
                    </a:cubicBezTo>
                    <a:cubicBezTo>
                      <a:pt x="352" y="509"/>
                      <a:pt x="338" y="515"/>
                      <a:pt x="327" y="523"/>
                    </a:cubicBezTo>
                    <a:cubicBezTo>
                      <a:pt x="315" y="531"/>
                      <a:pt x="305" y="542"/>
                      <a:pt x="298" y="554"/>
                    </a:cubicBezTo>
                    <a:cubicBezTo>
                      <a:pt x="291" y="567"/>
                      <a:pt x="287" y="581"/>
                      <a:pt x="286" y="595"/>
                    </a:cubicBezTo>
                    <a:cubicBezTo>
                      <a:pt x="286" y="597"/>
                      <a:pt x="286" y="598"/>
                      <a:pt x="286" y="600"/>
                    </a:cubicBezTo>
                    <a:cubicBezTo>
                      <a:pt x="286" y="607"/>
                      <a:pt x="286" y="607"/>
                      <a:pt x="286" y="607"/>
                    </a:cubicBezTo>
                    <a:cubicBezTo>
                      <a:pt x="286" y="621"/>
                      <a:pt x="286" y="621"/>
                      <a:pt x="286" y="621"/>
                    </a:cubicBezTo>
                    <a:cubicBezTo>
                      <a:pt x="286" y="630"/>
                      <a:pt x="286" y="639"/>
                      <a:pt x="286" y="648"/>
                    </a:cubicBezTo>
                    <a:cubicBezTo>
                      <a:pt x="286" y="685"/>
                      <a:pt x="286" y="722"/>
                      <a:pt x="286" y="759"/>
                    </a:cubicBezTo>
                    <a:cubicBezTo>
                      <a:pt x="286" y="777"/>
                      <a:pt x="286" y="796"/>
                      <a:pt x="286" y="814"/>
                    </a:cubicBezTo>
                    <a:cubicBezTo>
                      <a:pt x="286" y="828"/>
                      <a:pt x="286" y="828"/>
                      <a:pt x="286" y="828"/>
                    </a:cubicBezTo>
                    <a:cubicBezTo>
                      <a:pt x="286" y="832"/>
                      <a:pt x="286" y="832"/>
                      <a:pt x="286" y="832"/>
                    </a:cubicBezTo>
                    <a:cubicBezTo>
                      <a:pt x="286" y="834"/>
                      <a:pt x="286" y="834"/>
                      <a:pt x="286" y="834"/>
                    </a:cubicBezTo>
                    <a:cubicBezTo>
                      <a:pt x="286" y="837"/>
                      <a:pt x="286" y="837"/>
                      <a:pt x="286" y="837"/>
                    </a:cubicBezTo>
                    <a:cubicBezTo>
                      <a:pt x="286" y="848"/>
                      <a:pt x="286" y="848"/>
                      <a:pt x="286" y="848"/>
                    </a:cubicBezTo>
                    <a:cubicBezTo>
                      <a:pt x="286" y="852"/>
                      <a:pt x="286" y="856"/>
                      <a:pt x="285" y="859"/>
                    </a:cubicBezTo>
                    <a:cubicBezTo>
                      <a:pt x="285" y="863"/>
                      <a:pt x="284" y="866"/>
                      <a:pt x="283" y="870"/>
                    </a:cubicBezTo>
                    <a:cubicBezTo>
                      <a:pt x="281" y="876"/>
                      <a:pt x="277" y="882"/>
                      <a:pt x="271" y="887"/>
                    </a:cubicBezTo>
                    <a:cubicBezTo>
                      <a:pt x="260" y="895"/>
                      <a:pt x="244" y="897"/>
                      <a:pt x="229" y="898"/>
                    </a:cubicBezTo>
                    <a:cubicBezTo>
                      <a:pt x="220" y="899"/>
                      <a:pt x="220" y="899"/>
                      <a:pt x="220" y="899"/>
                    </a:cubicBezTo>
                    <a:cubicBezTo>
                      <a:pt x="213" y="899"/>
                      <a:pt x="213" y="899"/>
                      <a:pt x="213" y="899"/>
                    </a:cubicBezTo>
                    <a:cubicBezTo>
                      <a:pt x="208" y="899"/>
                      <a:pt x="203" y="899"/>
                      <a:pt x="198" y="899"/>
                    </a:cubicBezTo>
                    <a:cubicBezTo>
                      <a:pt x="184" y="899"/>
                      <a:pt x="184" y="899"/>
                      <a:pt x="184" y="899"/>
                    </a:cubicBezTo>
                    <a:cubicBezTo>
                      <a:pt x="176" y="899"/>
                      <a:pt x="176" y="899"/>
                      <a:pt x="176" y="899"/>
                    </a:cubicBezTo>
                    <a:cubicBezTo>
                      <a:pt x="174" y="899"/>
                      <a:pt x="171" y="899"/>
                      <a:pt x="168" y="899"/>
                    </a:cubicBezTo>
                    <a:cubicBezTo>
                      <a:pt x="157" y="898"/>
                      <a:pt x="146" y="896"/>
                      <a:pt x="136" y="893"/>
                    </a:cubicBezTo>
                    <a:cubicBezTo>
                      <a:pt x="115" y="888"/>
                      <a:pt x="95" y="879"/>
                      <a:pt x="77" y="867"/>
                    </a:cubicBezTo>
                    <a:cubicBezTo>
                      <a:pt x="59" y="856"/>
                      <a:pt x="42" y="841"/>
                      <a:pt x="29" y="822"/>
                    </a:cubicBezTo>
                    <a:cubicBezTo>
                      <a:pt x="23" y="813"/>
                      <a:pt x="17" y="803"/>
                      <a:pt x="13" y="792"/>
                    </a:cubicBezTo>
                    <a:cubicBezTo>
                      <a:pt x="9" y="781"/>
                      <a:pt x="6" y="769"/>
                      <a:pt x="5" y="757"/>
                    </a:cubicBezTo>
                    <a:cubicBezTo>
                      <a:pt x="5" y="753"/>
                      <a:pt x="5" y="753"/>
                      <a:pt x="5" y="753"/>
                    </a:cubicBezTo>
                    <a:cubicBezTo>
                      <a:pt x="5" y="748"/>
                      <a:pt x="5" y="748"/>
                      <a:pt x="5" y="748"/>
                    </a:cubicBezTo>
                    <a:cubicBezTo>
                      <a:pt x="5" y="741"/>
                      <a:pt x="5" y="741"/>
                      <a:pt x="5" y="741"/>
                    </a:cubicBezTo>
                    <a:cubicBezTo>
                      <a:pt x="5" y="727"/>
                      <a:pt x="5" y="727"/>
                      <a:pt x="5" y="727"/>
                    </a:cubicBezTo>
                    <a:cubicBezTo>
                      <a:pt x="5" y="699"/>
                      <a:pt x="5" y="699"/>
                      <a:pt x="5" y="699"/>
                    </a:cubicBezTo>
                    <a:cubicBezTo>
                      <a:pt x="5" y="548"/>
                      <a:pt x="6" y="396"/>
                      <a:pt x="7" y="247"/>
                    </a:cubicBezTo>
                    <a:cubicBezTo>
                      <a:pt x="7" y="177"/>
                      <a:pt x="8" y="57"/>
                      <a:pt x="8" y="42"/>
                    </a:cubicBezTo>
                    <a:cubicBezTo>
                      <a:pt x="8" y="27"/>
                      <a:pt x="14" y="4"/>
                      <a:pt x="46" y="4"/>
                    </a:cubicBezTo>
                    <a:cubicBezTo>
                      <a:pt x="78" y="4"/>
                      <a:pt x="124" y="5"/>
                      <a:pt x="162" y="5"/>
                    </a:cubicBezTo>
                    <a:cubicBezTo>
                      <a:pt x="180" y="5"/>
                      <a:pt x="197" y="5"/>
                      <a:pt x="214" y="5"/>
                    </a:cubicBezTo>
                    <a:cubicBezTo>
                      <a:pt x="216" y="5"/>
                      <a:pt x="218" y="5"/>
                      <a:pt x="221" y="5"/>
                    </a:cubicBezTo>
                    <a:cubicBezTo>
                      <a:pt x="223" y="6"/>
                      <a:pt x="225" y="6"/>
                      <a:pt x="228" y="6"/>
                    </a:cubicBezTo>
                    <a:cubicBezTo>
                      <a:pt x="232" y="6"/>
                      <a:pt x="237" y="7"/>
                      <a:pt x="241" y="8"/>
                    </a:cubicBezTo>
                    <a:cubicBezTo>
                      <a:pt x="250" y="9"/>
                      <a:pt x="259" y="11"/>
                      <a:pt x="268" y="13"/>
                    </a:cubicBezTo>
                    <a:cubicBezTo>
                      <a:pt x="303" y="22"/>
                      <a:pt x="335" y="39"/>
                      <a:pt x="362" y="61"/>
                    </a:cubicBezTo>
                    <a:cubicBezTo>
                      <a:pt x="365" y="63"/>
                      <a:pt x="368" y="66"/>
                      <a:pt x="371" y="69"/>
                    </a:cubicBezTo>
                    <a:cubicBezTo>
                      <a:pt x="376" y="74"/>
                      <a:pt x="376" y="74"/>
                      <a:pt x="376" y="74"/>
                    </a:cubicBezTo>
                    <a:cubicBezTo>
                      <a:pt x="380" y="78"/>
                      <a:pt x="380" y="78"/>
                      <a:pt x="380" y="78"/>
                    </a:cubicBezTo>
                    <a:cubicBezTo>
                      <a:pt x="386" y="83"/>
                      <a:pt x="392" y="88"/>
                      <a:pt x="397" y="94"/>
                    </a:cubicBezTo>
                    <a:cubicBezTo>
                      <a:pt x="409" y="105"/>
                      <a:pt x="420" y="115"/>
                      <a:pt x="431" y="126"/>
                    </a:cubicBezTo>
                    <a:cubicBezTo>
                      <a:pt x="453" y="147"/>
                      <a:pt x="474" y="168"/>
                      <a:pt x="495" y="188"/>
                    </a:cubicBezTo>
                    <a:cubicBezTo>
                      <a:pt x="516" y="208"/>
                      <a:pt x="537" y="228"/>
                      <a:pt x="557" y="247"/>
                    </a:cubicBezTo>
                    <a:cubicBezTo>
                      <a:pt x="559" y="249"/>
                      <a:pt x="562" y="252"/>
                      <a:pt x="564" y="254"/>
                    </a:cubicBezTo>
                    <a:cubicBezTo>
                      <a:pt x="568" y="258"/>
                      <a:pt x="568" y="258"/>
                      <a:pt x="568" y="258"/>
                    </a:cubicBezTo>
                    <a:cubicBezTo>
                      <a:pt x="570" y="259"/>
                      <a:pt x="571" y="260"/>
                      <a:pt x="572" y="261"/>
                    </a:cubicBezTo>
                    <a:cubicBezTo>
                      <a:pt x="577" y="266"/>
                      <a:pt x="581" y="271"/>
                      <a:pt x="586" y="275"/>
                    </a:cubicBezTo>
                    <a:cubicBezTo>
                      <a:pt x="596" y="284"/>
                      <a:pt x="606" y="292"/>
                      <a:pt x="616" y="300"/>
                    </a:cubicBezTo>
                    <a:cubicBezTo>
                      <a:pt x="656" y="331"/>
                      <a:pt x="699" y="354"/>
                      <a:pt x="741" y="370"/>
                    </a:cubicBezTo>
                    <a:cubicBezTo>
                      <a:pt x="783" y="386"/>
                      <a:pt x="825" y="395"/>
                      <a:pt x="864" y="400"/>
                    </a:cubicBezTo>
                    <a:cubicBezTo>
                      <a:pt x="903" y="404"/>
                      <a:pt x="940" y="404"/>
                      <a:pt x="972" y="401"/>
                    </a:cubicBezTo>
                    <a:cubicBezTo>
                      <a:pt x="1038" y="396"/>
                      <a:pt x="1089" y="380"/>
                      <a:pt x="1125" y="366"/>
                    </a:cubicBezTo>
                    <a:cubicBezTo>
                      <a:pt x="1148" y="357"/>
                      <a:pt x="1165" y="349"/>
                      <a:pt x="1175" y="344"/>
                    </a:cubicBezTo>
                    <a:cubicBezTo>
                      <a:pt x="1186" y="339"/>
                      <a:pt x="1191" y="338"/>
                      <a:pt x="1191" y="339"/>
                    </a:cubicBezTo>
                    <a:cubicBezTo>
                      <a:pt x="1191" y="341"/>
                      <a:pt x="1185" y="346"/>
                      <a:pt x="1175" y="353"/>
                    </a:cubicBezTo>
                    <a:cubicBezTo>
                      <a:pt x="1164" y="361"/>
                      <a:pt x="1147" y="371"/>
                      <a:pt x="1123" y="383"/>
                    </a:cubicBezTo>
                    <a:cubicBezTo>
                      <a:pt x="1117" y="386"/>
                      <a:pt x="1104" y="393"/>
                      <a:pt x="1084" y="400"/>
                    </a:cubicBezTo>
                    <a:cubicBezTo>
                      <a:pt x="1063" y="408"/>
                      <a:pt x="1035" y="417"/>
                      <a:pt x="1000" y="423"/>
                    </a:cubicBezTo>
                    <a:cubicBezTo>
                      <a:pt x="965" y="429"/>
                      <a:pt x="923" y="433"/>
                      <a:pt x="875" y="430"/>
                    </a:cubicBezTo>
                    <a:cubicBezTo>
                      <a:pt x="828" y="427"/>
                      <a:pt x="775" y="418"/>
                      <a:pt x="721" y="398"/>
                    </a:cubicBezTo>
                    <a:cubicBezTo>
                      <a:pt x="661" y="376"/>
                      <a:pt x="604" y="341"/>
                      <a:pt x="555" y="296"/>
                    </a:cubicBezTo>
                    <a:cubicBezTo>
                      <a:pt x="552" y="293"/>
                      <a:pt x="549" y="290"/>
                      <a:pt x="546" y="287"/>
                    </a:cubicBezTo>
                    <a:cubicBezTo>
                      <a:pt x="544" y="285"/>
                      <a:pt x="544" y="285"/>
                      <a:pt x="544" y="285"/>
                    </a:cubicBezTo>
                    <a:cubicBezTo>
                      <a:pt x="542" y="283"/>
                      <a:pt x="542" y="283"/>
                      <a:pt x="542" y="283"/>
                    </a:cubicBezTo>
                    <a:cubicBezTo>
                      <a:pt x="537" y="279"/>
                      <a:pt x="537" y="279"/>
                      <a:pt x="537" y="279"/>
                    </a:cubicBezTo>
                    <a:cubicBezTo>
                      <a:pt x="531" y="274"/>
                      <a:pt x="526" y="268"/>
                      <a:pt x="520" y="263"/>
                    </a:cubicBezTo>
                    <a:cubicBezTo>
                      <a:pt x="508" y="251"/>
                      <a:pt x="496" y="240"/>
                      <a:pt x="484" y="229"/>
                    </a:cubicBezTo>
                    <a:cubicBezTo>
                      <a:pt x="460" y="207"/>
                      <a:pt x="436" y="184"/>
                      <a:pt x="411" y="162"/>
                    </a:cubicBezTo>
                    <a:cubicBezTo>
                      <a:pt x="399" y="150"/>
                      <a:pt x="387" y="139"/>
                      <a:pt x="375" y="127"/>
                    </a:cubicBezTo>
                    <a:cubicBezTo>
                      <a:pt x="369" y="122"/>
                      <a:pt x="362" y="116"/>
                      <a:pt x="356" y="110"/>
                    </a:cubicBezTo>
                    <a:cubicBezTo>
                      <a:pt x="347" y="102"/>
                      <a:pt x="347" y="102"/>
                      <a:pt x="347" y="102"/>
                    </a:cubicBezTo>
                    <a:cubicBezTo>
                      <a:pt x="345" y="100"/>
                      <a:pt x="345" y="100"/>
                      <a:pt x="345" y="100"/>
                    </a:cubicBezTo>
                    <a:cubicBezTo>
                      <a:pt x="343" y="98"/>
                      <a:pt x="343" y="98"/>
                      <a:pt x="343" y="98"/>
                    </a:cubicBezTo>
                    <a:cubicBezTo>
                      <a:pt x="338" y="94"/>
                      <a:pt x="338" y="94"/>
                      <a:pt x="338" y="94"/>
                    </a:cubicBezTo>
                    <a:cubicBezTo>
                      <a:pt x="315" y="75"/>
                      <a:pt x="287" y="60"/>
                      <a:pt x="257" y="53"/>
                    </a:cubicBezTo>
                    <a:cubicBezTo>
                      <a:pt x="242" y="49"/>
                      <a:pt x="226" y="47"/>
                      <a:pt x="211" y="47"/>
                    </a:cubicBezTo>
                    <a:cubicBezTo>
                      <a:pt x="193" y="47"/>
                      <a:pt x="176" y="48"/>
                      <a:pt x="159" y="48"/>
                    </a:cubicBezTo>
                    <a:cubicBezTo>
                      <a:pt x="127" y="48"/>
                      <a:pt x="76" y="48"/>
                      <a:pt x="64" y="48"/>
                    </a:cubicBezTo>
                    <a:cubicBezTo>
                      <a:pt x="52" y="48"/>
                      <a:pt x="52" y="56"/>
                      <a:pt x="52" y="60"/>
                    </a:cubicBezTo>
                    <a:cubicBezTo>
                      <a:pt x="52" y="64"/>
                      <a:pt x="53" y="470"/>
                      <a:pt x="54" y="676"/>
                    </a:cubicBezTo>
                    <a:cubicBezTo>
                      <a:pt x="54" y="689"/>
                      <a:pt x="54" y="702"/>
                      <a:pt x="54" y="715"/>
                    </a:cubicBezTo>
                    <a:cubicBezTo>
                      <a:pt x="54" y="734"/>
                      <a:pt x="54" y="734"/>
                      <a:pt x="54" y="734"/>
                    </a:cubicBezTo>
                    <a:cubicBezTo>
                      <a:pt x="54" y="744"/>
                      <a:pt x="54" y="744"/>
                      <a:pt x="54" y="744"/>
                    </a:cubicBezTo>
                    <a:cubicBezTo>
                      <a:pt x="54" y="749"/>
                      <a:pt x="54" y="749"/>
                      <a:pt x="54" y="749"/>
                    </a:cubicBezTo>
                    <a:cubicBezTo>
                      <a:pt x="54" y="750"/>
                      <a:pt x="54" y="751"/>
                      <a:pt x="54" y="752"/>
                    </a:cubicBezTo>
                    <a:cubicBezTo>
                      <a:pt x="55" y="771"/>
                      <a:pt x="65" y="790"/>
                      <a:pt x="80" y="806"/>
                    </a:cubicBezTo>
                    <a:cubicBezTo>
                      <a:pt x="95" y="821"/>
                      <a:pt x="115" y="833"/>
                      <a:pt x="136" y="841"/>
                    </a:cubicBezTo>
                    <a:cubicBezTo>
                      <a:pt x="146" y="844"/>
                      <a:pt x="157" y="847"/>
                      <a:pt x="168" y="848"/>
                    </a:cubicBezTo>
                    <a:cubicBezTo>
                      <a:pt x="170" y="848"/>
                      <a:pt x="173" y="848"/>
                      <a:pt x="175" y="849"/>
                    </a:cubicBezTo>
                    <a:cubicBezTo>
                      <a:pt x="177" y="849"/>
                      <a:pt x="178" y="849"/>
                      <a:pt x="179" y="849"/>
                    </a:cubicBezTo>
                    <a:cubicBezTo>
                      <a:pt x="184" y="849"/>
                      <a:pt x="184" y="849"/>
                      <a:pt x="184" y="849"/>
                    </a:cubicBezTo>
                    <a:cubicBezTo>
                      <a:pt x="191" y="849"/>
                      <a:pt x="197" y="848"/>
                      <a:pt x="203" y="848"/>
                    </a:cubicBezTo>
                    <a:cubicBezTo>
                      <a:pt x="209" y="848"/>
                      <a:pt x="215" y="848"/>
                      <a:pt x="221" y="848"/>
                    </a:cubicBezTo>
                    <a:cubicBezTo>
                      <a:pt x="224" y="847"/>
                      <a:pt x="224" y="847"/>
                      <a:pt x="224" y="847"/>
                    </a:cubicBezTo>
                    <a:cubicBezTo>
                      <a:pt x="225" y="847"/>
                      <a:pt x="225" y="847"/>
                      <a:pt x="225" y="847"/>
                    </a:cubicBezTo>
                    <a:cubicBezTo>
                      <a:pt x="226" y="847"/>
                      <a:pt x="228" y="847"/>
                      <a:pt x="229" y="847"/>
                    </a:cubicBezTo>
                    <a:cubicBezTo>
                      <a:pt x="230" y="847"/>
                      <a:pt x="231" y="846"/>
                      <a:pt x="232" y="846"/>
                    </a:cubicBezTo>
                    <a:cubicBezTo>
                      <a:pt x="233" y="846"/>
                      <a:pt x="234" y="845"/>
                      <a:pt x="234" y="844"/>
                    </a:cubicBezTo>
                    <a:cubicBezTo>
                      <a:pt x="235" y="842"/>
                      <a:pt x="235" y="839"/>
                      <a:pt x="235" y="837"/>
                    </a:cubicBezTo>
                    <a:cubicBezTo>
                      <a:pt x="235" y="814"/>
                      <a:pt x="235" y="791"/>
                      <a:pt x="235" y="768"/>
                    </a:cubicBezTo>
                    <a:cubicBezTo>
                      <a:pt x="234" y="717"/>
                      <a:pt x="234" y="667"/>
                      <a:pt x="234" y="617"/>
                    </a:cubicBezTo>
                    <a:cubicBezTo>
                      <a:pt x="234" y="610"/>
                      <a:pt x="234" y="604"/>
                      <a:pt x="234" y="597"/>
                    </a:cubicBezTo>
                    <a:cubicBezTo>
                      <a:pt x="234" y="589"/>
                      <a:pt x="235" y="582"/>
                      <a:pt x="236" y="574"/>
                    </a:cubicBezTo>
                    <a:cubicBezTo>
                      <a:pt x="239" y="559"/>
                      <a:pt x="244" y="544"/>
                      <a:pt x="252" y="530"/>
                    </a:cubicBezTo>
                    <a:cubicBezTo>
                      <a:pt x="267" y="502"/>
                      <a:pt x="291" y="479"/>
                      <a:pt x="320" y="466"/>
                    </a:cubicBezTo>
                    <a:cubicBezTo>
                      <a:pt x="335" y="460"/>
                      <a:pt x="351" y="456"/>
                      <a:pt x="367" y="454"/>
                    </a:cubicBezTo>
                    <a:cubicBezTo>
                      <a:pt x="371" y="454"/>
                      <a:pt x="375" y="454"/>
                      <a:pt x="379" y="454"/>
                    </a:cubicBezTo>
                    <a:cubicBezTo>
                      <a:pt x="383" y="454"/>
                      <a:pt x="386" y="454"/>
                      <a:pt x="390" y="454"/>
                    </a:cubicBezTo>
                    <a:cubicBezTo>
                      <a:pt x="397" y="455"/>
                      <a:pt x="405" y="455"/>
                      <a:pt x="412" y="457"/>
                    </a:cubicBezTo>
                    <a:cubicBezTo>
                      <a:pt x="441" y="461"/>
                      <a:pt x="470" y="471"/>
                      <a:pt x="495" y="484"/>
                    </a:cubicBezTo>
                    <a:cubicBezTo>
                      <a:pt x="521" y="497"/>
                      <a:pt x="544" y="513"/>
                      <a:pt x="565" y="530"/>
                    </a:cubicBezTo>
                    <a:cubicBezTo>
                      <a:pt x="587" y="547"/>
                      <a:pt x="607" y="566"/>
                      <a:pt x="626" y="584"/>
                    </a:cubicBezTo>
                    <a:cubicBezTo>
                      <a:pt x="635" y="593"/>
                      <a:pt x="645" y="601"/>
                      <a:pt x="654" y="610"/>
                    </a:cubicBezTo>
                    <a:cubicBezTo>
                      <a:pt x="668" y="623"/>
                      <a:pt x="668" y="623"/>
                      <a:pt x="668" y="623"/>
                    </a:cubicBezTo>
                    <a:cubicBezTo>
                      <a:pt x="673" y="628"/>
                      <a:pt x="678" y="632"/>
                      <a:pt x="683" y="636"/>
                    </a:cubicBezTo>
                    <a:cubicBezTo>
                      <a:pt x="702" y="654"/>
                      <a:pt x="721" y="671"/>
                      <a:pt x="740" y="689"/>
                    </a:cubicBezTo>
                    <a:cubicBezTo>
                      <a:pt x="759" y="706"/>
                      <a:pt x="777" y="722"/>
                      <a:pt x="796" y="737"/>
                    </a:cubicBezTo>
                    <a:cubicBezTo>
                      <a:pt x="815" y="752"/>
                      <a:pt x="834" y="765"/>
                      <a:pt x="854" y="774"/>
                    </a:cubicBezTo>
                    <a:cubicBezTo>
                      <a:pt x="874" y="784"/>
                      <a:pt x="894" y="789"/>
                      <a:pt x="914" y="790"/>
                    </a:cubicBezTo>
                    <a:cubicBezTo>
                      <a:pt x="934" y="790"/>
                      <a:pt x="954" y="786"/>
                      <a:pt x="973" y="777"/>
                    </a:cubicBezTo>
                    <a:cubicBezTo>
                      <a:pt x="992" y="769"/>
                      <a:pt x="1010" y="758"/>
                      <a:pt x="1027" y="745"/>
                    </a:cubicBezTo>
                    <a:cubicBezTo>
                      <a:pt x="1045" y="733"/>
                      <a:pt x="1061" y="719"/>
                      <a:pt x="1077" y="705"/>
                    </a:cubicBezTo>
                    <a:cubicBezTo>
                      <a:pt x="1093" y="691"/>
                      <a:pt x="1109" y="677"/>
                      <a:pt x="1125" y="663"/>
                    </a:cubicBezTo>
                    <a:cubicBezTo>
                      <a:pt x="1132" y="657"/>
                      <a:pt x="1140" y="650"/>
                      <a:pt x="1148" y="643"/>
                    </a:cubicBezTo>
                    <a:cubicBezTo>
                      <a:pt x="1151" y="640"/>
                      <a:pt x="1155" y="637"/>
                      <a:pt x="1159" y="633"/>
                    </a:cubicBezTo>
                    <a:cubicBezTo>
                      <a:pt x="1163" y="630"/>
                      <a:pt x="1166" y="627"/>
                      <a:pt x="1170" y="624"/>
                    </a:cubicBezTo>
                    <a:cubicBezTo>
                      <a:pt x="1202" y="595"/>
                      <a:pt x="1234" y="564"/>
                      <a:pt x="1269" y="537"/>
                    </a:cubicBezTo>
                    <a:cubicBezTo>
                      <a:pt x="1287" y="523"/>
                      <a:pt x="1305" y="510"/>
                      <a:pt x="1325" y="499"/>
                    </a:cubicBezTo>
                    <a:cubicBezTo>
                      <a:pt x="1344" y="488"/>
                      <a:pt x="1365" y="479"/>
                      <a:pt x="1387" y="472"/>
                    </a:cubicBezTo>
                    <a:cubicBezTo>
                      <a:pt x="1409" y="466"/>
                      <a:pt x="1432" y="463"/>
                      <a:pt x="1455" y="463"/>
                    </a:cubicBezTo>
                    <a:cubicBezTo>
                      <a:pt x="1479" y="464"/>
                      <a:pt x="1503" y="472"/>
                      <a:pt x="1523" y="484"/>
                    </a:cubicBezTo>
                    <a:cubicBezTo>
                      <a:pt x="1543" y="497"/>
                      <a:pt x="1559" y="515"/>
                      <a:pt x="1570" y="535"/>
                    </a:cubicBezTo>
                    <a:cubicBezTo>
                      <a:pt x="1581" y="555"/>
                      <a:pt x="1586" y="578"/>
                      <a:pt x="1586" y="601"/>
                    </a:cubicBezTo>
                    <a:cubicBezTo>
                      <a:pt x="1585" y="635"/>
                      <a:pt x="1585" y="667"/>
                      <a:pt x="1584" y="697"/>
                    </a:cubicBezTo>
                    <a:cubicBezTo>
                      <a:pt x="1584" y="712"/>
                      <a:pt x="1584" y="726"/>
                      <a:pt x="1584" y="740"/>
                    </a:cubicBezTo>
                    <a:cubicBezTo>
                      <a:pt x="1584" y="743"/>
                      <a:pt x="1584" y="747"/>
                      <a:pt x="1583" y="750"/>
                    </a:cubicBezTo>
                    <a:cubicBezTo>
                      <a:pt x="1583" y="753"/>
                      <a:pt x="1584" y="755"/>
                      <a:pt x="1584" y="758"/>
                    </a:cubicBezTo>
                    <a:cubicBezTo>
                      <a:pt x="1584" y="764"/>
                      <a:pt x="1586" y="769"/>
                      <a:pt x="1587" y="774"/>
                    </a:cubicBezTo>
                    <a:cubicBezTo>
                      <a:pt x="1591" y="787"/>
                      <a:pt x="1598" y="799"/>
                      <a:pt x="1606" y="809"/>
                    </a:cubicBezTo>
                    <a:cubicBezTo>
                      <a:pt x="1615" y="819"/>
                      <a:pt x="1624" y="828"/>
                      <a:pt x="1634" y="835"/>
                    </a:cubicBezTo>
                    <a:cubicBezTo>
                      <a:pt x="1639" y="839"/>
                      <a:pt x="1641" y="842"/>
                      <a:pt x="1642" y="843"/>
                    </a:cubicBezTo>
                    <a:cubicBezTo>
                      <a:pt x="1643" y="844"/>
                      <a:pt x="1641" y="845"/>
                      <a:pt x="1637" y="843"/>
                    </a:cubicBezTo>
                    <a:close/>
                    <a:moveTo>
                      <a:pt x="262" y="863"/>
                    </a:moveTo>
                    <a:cubicBezTo>
                      <a:pt x="261" y="867"/>
                      <a:pt x="257" y="871"/>
                      <a:pt x="253" y="872"/>
                    </a:cubicBezTo>
                    <a:cubicBezTo>
                      <a:pt x="245" y="876"/>
                      <a:pt x="235" y="876"/>
                      <a:pt x="225" y="877"/>
                    </a:cubicBezTo>
                    <a:cubicBezTo>
                      <a:pt x="216" y="878"/>
                      <a:pt x="207" y="878"/>
                      <a:pt x="197" y="878"/>
                    </a:cubicBezTo>
                    <a:cubicBezTo>
                      <a:pt x="192" y="879"/>
                      <a:pt x="188" y="879"/>
                      <a:pt x="183" y="879"/>
                    </a:cubicBezTo>
                    <a:cubicBezTo>
                      <a:pt x="178" y="879"/>
                      <a:pt x="173" y="879"/>
                      <a:pt x="168" y="878"/>
                    </a:cubicBezTo>
                    <a:cubicBezTo>
                      <a:pt x="148" y="877"/>
                      <a:pt x="127" y="872"/>
                      <a:pt x="107" y="862"/>
                    </a:cubicBezTo>
                    <a:cubicBezTo>
                      <a:pt x="88" y="853"/>
                      <a:pt x="69" y="840"/>
                      <a:pt x="53" y="822"/>
                    </a:cubicBezTo>
                    <a:cubicBezTo>
                      <a:pt x="45" y="813"/>
                      <a:pt x="38" y="803"/>
                      <a:pt x="33" y="792"/>
                    </a:cubicBezTo>
                    <a:cubicBezTo>
                      <a:pt x="28" y="781"/>
                      <a:pt x="24" y="769"/>
                      <a:pt x="23" y="756"/>
                    </a:cubicBezTo>
                    <a:cubicBezTo>
                      <a:pt x="23" y="753"/>
                      <a:pt x="23" y="750"/>
                      <a:pt x="23" y="747"/>
                    </a:cubicBezTo>
                    <a:cubicBezTo>
                      <a:pt x="23" y="744"/>
                      <a:pt x="23" y="741"/>
                      <a:pt x="23" y="738"/>
                    </a:cubicBezTo>
                    <a:cubicBezTo>
                      <a:pt x="23" y="732"/>
                      <a:pt x="23" y="726"/>
                      <a:pt x="22" y="720"/>
                    </a:cubicBezTo>
                    <a:cubicBezTo>
                      <a:pt x="22" y="708"/>
                      <a:pt x="22" y="696"/>
                      <a:pt x="22" y="684"/>
                    </a:cubicBezTo>
                    <a:cubicBezTo>
                      <a:pt x="22" y="585"/>
                      <a:pt x="21" y="480"/>
                      <a:pt x="21" y="372"/>
                    </a:cubicBezTo>
                    <a:cubicBezTo>
                      <a:pt x="21" y="319"/>
                      <a:pt x="21" y="265"/>
                      <a:pt x="21" y="211"/>
                    </a:cubicBezTo>
                    <a:cubicBezTo>
                      <a:pt x="22" y="156"/>
                      <a:pt x="22" y="65"/>
                      <a:pt x="22" y="48"/>
                    </a:cubicBezTo>
                    <a:cubicBezTo>
                      <a:pt x="22" y="30"/>
                      <a:pt x="34" y="18"/>
                      <a:pt x="52" y="18"/>
                    </a:cubicBezTo>
                    <a:cubicBezTo>
                      <a:pt x="70" y="18"/>
                      <a:pt x="121" y="19"/>
                      <a:pt x="155" y="19"/>
                    </a:cubicBezTo>
                    <a:cubicBezTo>
                      <a:pt x="167" y="19"/>
                      <a:pt x="180" y="19"/>
                      <a:pt x="192" y="19"/>
                    </a:cubicBezTo>
                    <a:cubicBezTo>
                      <a:pt x="198" y="19"/>
                      <a:pt x="204" y="19"/>
                      <a:pt x="210" y="19"/>
                    </a:cubicBezTo>
                    <a:cubicBezTo>
                      <a:pt x="217" y="19"/>
                      <a:pt x="223" y="19"/>
                      <a:pt x="229" y="20"/>
                    </a:cubicBezTo>
                    <a:cubicBezTo>
                      <a:pt x="254" y="22"/>
                      <a:pt x="277" y="29"/>
                      <a:pt x="298" y="38"/>
                    </a:cubicBezTo>
                    <a:cubicBezTo>
                      <a:pt x="319" y="47"/>
                      <a:pt x="338" y="59"/>
                      <a:pt x="354" y="72"/>
                    </a:cubicBezTo>
                    <a:cubicBezTo>
                      <a:pt x="358" y="76"/>
                      <a:pt x="362" y="79"/>
                      <a:pt x="365" y="83"/>
                    </a:cubicBezTo>
                    <a:cubicBezTo>
                      <a:pt x="369" y="86"/>
                      <a:pt x="373" y="90"/>
                      <a:pt x="376" y="93"/>
                    </a:cubicBezTo>
                    <a:cubicBezTo>
                      <a:pt x="383" y="100"/>
                      <a:pt x="390" y="106"/>
                      <a:pt x="397" y="113"/>
                    </a:cubicBezTo>
                    <a:cubicBezTo>
                      <a:pt x="450" y="164"/>
                      <a:pt x="491" y="204"/>
                      <a:pt x="515" y="229"/>
                    </a:cubicBezTo>
                    <a:cubicBezTo>
                      <a:pt x="523" y="236"/>
                      <a:pt x="528" y="242"/>
                      <a:pt x="531" y="246"/>
                    </a:cubicBezTo>
                    <a:cubicBezTo>
                      <a:pt x="538" y="254"/>
                      <a:pt x="537" y="254"/>
                      <a:pt x="528" y="247"/>
                    </a:cubicBezTo>
                    <a:cubicBezTo>
                      <a:pt x="523" y="243"/>
                      <a:pt x="517" y="238"/>
                      <a:pt x="508" y="231"/>
                    </a:cubicBezTo>
                    <a:cubicBezTo>
                      <a:pt x="499" y="224"/>
                      <a:pt x="450" y="180"/>
                      <a:pt x="385" y="120"/>
                    </a:cubicBezTo>
                    <a:cubicBezTo>
                      <a:pt x="375" y="110"/>
                      <a:pt x="364" y="100"/>
                      <a:pt x="353" y="90"/>
                    </a:cubicBezTo>
                    <a:cubicBezTo>
                      <a:pt x="342" y="80"/>
                      <a:pt x="331" y="72"/>
                      <a:pt x="318" y="64"/>
                    </a:cubicBezTo>
                    <a:cubicBezTo>
                      <a:pt x="294" y="50"/>
                      <a:pt x="266" y="40"/>
                      <a:pt x="237" y="36"/>
                    </a:cubicBezTo>
                    <a:cubicBezTo>
                      <a:pt x="230" y="35"/>
                      <a:pt x="222" y="35"/>
                      <a:pt x="215" y="34"/>
                    </a:cubicBezTo>
                    <a:cubicBezTo>
                      <a:pt x="208" y="34"/>
                      <a:pt x="200" y="34"/>
                      <a:pt x="192" y="34"/>
                    </a:cubicBezTo>
                    <a:cubicBezTo>
                      <a:pt x="177" y="34"/>
                      <a:pt x="162" y="34"/>
                      <a:pt x="147" y="34"/>
                    </a:cubicBezTo>
                    <a:cubicBezTo>
                      <a:pt x="122" y="35"/>
                      <a:pt x="61" y="34"/>
                      <a:pt x="58" y="34"/>
                    </a:cubicBezTo>
                    <a:cubicBezTo>
                      <a:pt x="41" y="35"/>
                      <a:pt x="39" y="41"/>
                      <a:pt x="39" y="54"/>
                    </a:cubicBezTo>
                    <a:cubicBezTo>
                      <a:pt x="39" y="67"/>
                      <a:pt x="39" y="176"/>
                      <a:pt x="39" y="236"/>
                    </a:cubicBezTo>
                    <a:cubicBezTo>
                      <a:pt x="40" y="297"/>
                      <a:pt x="40" y="357"/>
                      <a:pt x="40" y="417"/>
                    </a:cubicBezTo>
                    <a:cubicBezTo>
                      <a:pt x="41" y="490"/>
                      <a:pt x="41" y="570"/>
                      <a:pt x="41" y="648"/>
                    </a:cubicBezTo>
                    <a:cubicBezTo>
                      <a:pt x="41" y="667"/>
                      <a:pt x="41" y="686"/>
                      <a:pt x="40" y="705"/>
                    </a:cubicBezTo>
                    <a:cubicBezTo>
                      <a:pt x="40" y="715"/>
                      <a:pt x="40" y="724"/>
                      <a:pt x="40" y="734"/>
                    </a:cubicBezTo>
                    <a:cubicBezTo>
                      <a:pt x="40" y="738"/>
                      <a:pt x="40" y="743"/>
                      <a:pt x="40" y="748"/>
                    </a:cubicBezTo>
                    <a:cubicBezTo>
                      <a:pt x="40" y="752"/>
                      <a:pt x="40" y="756"/>
                      <a:pt x="41" y="760"/>
                    </a:cubicBezTo>
                    <a:cubicBezTo>
                      <a:pt x="43" y="776"/>
                      <a:pt x="50" y="791"/>
                      <a:pt x="59" y="804"/>
                    </a:cubicBezTo>
                    <a:cubicBezTo>
                      <a:pt x="69" y="817"/>
                      <a:pt x="80" y="827"/>
                      <a:pt x="93" y="836"/>
                    </a:cubicBezTo>
                    <a:cubicBezTo>
                      <a:pt x="106" y="846"/>
                      <a:pt x="122" y="853"/>
                      <a:pt x="138" y="859"/>
                    </a:cubicBezTo>
                    <a:cubicBezTo>
                      <a:pt x="146" y="861"/>
                      <a:pt x="154" y="863"/>
                      <a:pt x="162" y="864"/>
                    </a:cubicBezTo>
                    <a:cubicBezTo>
                      <a:pt x="167" y="865"/>
                      <a:pt x="171" y="865"/>
                      <a:pt x="175" y="865"/>
                    </a:cubicBezTo>
                    <a:cubicBezTo>
                      <a:pt x="179" y="865"/>
                      <a:pt x="184" y="865"/>
                      <a:pt x="188" y="865"/>
                    </a:cubicBezTo>
                    <a:cubicBezTo>
                      <a:pt x="205" y="865"/>
                      <a:pt x="225" y="865"/>
                      <a:pt x="237" y="864"/>
                    </a:cubicBezTo>
                    <a:cubicBezTo>
                      <a:pt x="239" y="863"/>
                      <a:pt x="241" y="863"/>
                      <a:pt x="243" y="863"/>
                    </a:cubicBezTo>
                    <a:cubicBezTo>
                      <a:pt x="244" y="862"/>
                      <a:pt x="246" y="862"/>
                      <a:pt x="248" y="861"/>
                    </a:cubicBezTo>
                    <a:cubicBezTo>
                      <a:pt x="251" y="859"/>
                      <a:pt x="252" y="855"/>
                      <a:pt x="253" y="852"/>
                    </a:cubicBezTo>
                    <a:cubicBezTo>
                      <a:pt x="253" y="848"/>
                      <a:pt x="253" y="845"/>
                      <a:pt x="253" y="841"/>
                    </a:cubicBezTo>
                    <a:cubicBezTo>
                      <a:pt x="253" y="830"/>
                      <a:pt x="253" y="830"/>
                      <a:pt x="253" y="830"/>
                    </a:cubicBezTo>
                    <a:cubicBezTo>
                      <a:pt x="253" y="799"/>
                      <a:pt x="254" y="772"/>
                      <a:pt x="254" y="748"/>
                    </a:cubicBezTo>
                    <a:cubicBezTo>
                      <a:pt x="255" y="734"/>
                      <a:pt x="255" y="720"/>
                      <a:pt x="256" y="708"/>
                    </a:cubicBezTo>
                    <a:cubicBezTo>
                      <a:pt x="257" y="695"/>
                      <a:pt x="259" y="704"/>
                      <a:pt x="261" y="731"/>
                    </a:cubicBezTo>
                    <a:cubicBezTo>
                      <a:pt x="261" y="740"/>
                      <a:pt x="262" y="752"/>
                      <a:pt x="262" y="765"/>
                    </a:cubicBezTo>
                    <a:cubicBezTo>
                      <a:pt x="263" y="777"/>
                      <a:pt x="263" y="790"/>
                      <a:pt x="263" y="804"/>
                    </a:cubicBezTo>
                    <a:cubicBezTo>
                      <a:pt x="263" y="811"/>
                      <a:pt x="264" y="818"/>
                      <a:pt x="264" y="826"/>
                    </a:cubicBezTo>
                    <a:cubicBezTo>
                      <a:pt x="264" y="833"/>
                      <a:pt x="264" y="841"/>
                      <a:pt x="264" y="850"/>
                    </a:cubicBezTo>
                    <a:cubicBezTo>
                      <a:pt x="264" y="854"/>
                      <a:pt x="264" y="859"/>
                      <a:pt x="262" y="863"/>
                    </a:cubicBezTo>
                    <a:close/>
                    <a:moveTo>
                      <a:pt x="694" y="671"/>
                    </a:moveTo>
                    <a:cubicBezTo>
                      <a:pt x="688" y="665"/>
                      <a:pt x="682" y="659"/>
                      <a:pt x="675" y="653"/>
                    </a:cubicBezTo>
                    <a:cubicBezTo>
                      <a:pt x="668" y="646"/>
                      <a:pt x="660" y="640"/>
                      <a:pt x="653" y="633"/>
                    </a:cubicBezTo>
                    <a:cubicBezTo>
                      <a:pt x="637" y="618"/>
                      <a:pt x="621" y="602"/>
                      <a:pt x="604" y="586"/>
                    </a:cubicBezTo>
                    <a:cubicBezTo>
                      <a:pt x="584" y="567"/>
                      <a:pt x="563" y="548"/>
                      <a:pt x="540" y="531"/>
                    </a:cubicBezTo>
                    <a:cubicBezTo>
                      <a:pt x="518" y="515"/>
                      <a:pt x="494" y="499"/>
                      <a:pt x="467" y="488"/>
                    </a:cubicBezTo>
                    <a:cubicBezTo>
                      <a:pt x="441" y="477"/>
                      <a:pt x="411" y="469"/>
                      <a:pt x="381" y="469"/>
                    </a:cubicBezTo>
                    <a:cubicBezTo>
                      <a:pt x="374" y="469"/>
                      <a:pt x="366" y="469"/>
                      <a:pt x="358" y="470"/>
                    </a:cubicBezTo>
                    <a:cubicBezTo>
                      <a:pt x="350" y="471"/>
                      <a:pt x="343" y="473"/>
                      <a:pt x="335" y="476"/>
                    </a:cubicBezTo>
                    <a:cubicBezTo>
                      <a:pt x="321" y="480"/>
                      <a:pt x="307" y="488"/>
                      <a:pt x="296" y="497"/>
                    </a:cubicBezTo>
                    <a:cubicBezTo>
                      <a:pt x="273" y="515"/>
                      <a:pt x="256" y="542"/>
                      <a:pt x="249" y="572"/>
                    </a:cubicBezTo>
                    <a:cubicBezTo>
                      <a:pt x="247" y="580"/>
                      <a:pt x="246" y="588"/>
                      <a:pt x="246" y="595"/>
                    </a:cubicBezTo>
                    <a:cubicBezTo>
                      <a:pt x="246" y="597"/>
                      <a:pt x="246" y="599"/>
                      <a:pt x="246" y="601"/>
                    </a:cubicBezTo>
                    <a:cubicBezTo>
                      <a:pt x="246" y="606"/>
                      <a:pt x="246" y="606"/>
                      <a:pt x="246" y="606"/>
                    </a:cubicBezTo>
                    <a:cubicBezTo>
                      <a:pt x="246" y="610"/>
                      <a:pt x="246" y="613"/>
                      <a:pt x="246" y="617"/>
                    </a:cubicBezTo>
                    <a:cubicBezTo>
                      <a:pt x="246" y="631"/>
                      <a:pt x="246" y="645"/>
                      <a:pt x="245" y="660"/>
                    </a:cubicBezTo>
                    <a:cubicBezTo>
                      <a:pt x="245" y="717"/>
                      <a:pt x="245" y="776"/>
                      <a:pt x="244" y="836"/>
                    </a:cubicBezTo>
                    <a:cubicBezTo>
                      <a:pt x="244" y="843"/>
                      <a:pt x="244" y="843"/>
                      <a:pt x="244" y="843"/>
                    </a:cubicBezTo>
                    <a:cubicBezTo>
                      <a:pt x="244" y="845"/>
                      <a:pt x="244" y="847"/>
                      <a:pt x="243" y="849"/>
                    </a:cubicBezTo>
                    <a:cubicBezTo>
                      <a:pt x="243" y="851"/>
                      <a:pt x="241" y="853"/>
                      <a:pt x="239" y="854"/>
                    </a:cubicBezTo>
                    <a:cubicBezTo>
                      <a:pt x="237" y="855"/>
                      <a:pt x="235" y="855"/>
                      <a:pt x="233" y="855"/>
                    </a:cubicBezTo>
                    <a:cubicBezTo>
                      <a:pt x="231" y="856"/>
                      <a:pt x="228" y="856"/>
                      <a:pt x="226" y="856"/>
                    </a:cubicBezTo>
                    <a:cubicBezTo>
                      <a:pt x="223" y="856"/>
                      <a:pt x="223" y="856"/>
                      <a:pt x="223" y="856"/>
                    </a:cubicBezTo>
                    <a:cubicBezTo>
                      <a:pt x="217" y="856"/>
                      <a:pt x="217" y="856"/>
                      <a:pt x="217" y="856"/>
                    </a:cubicBezTo>
                    <a:cubicBezTo>
                      <a:pt x="210" y="857"/>
                      <a:pt x="203" y="857"/>
                      <a:pt x="195" y="857"/>
                    </a:cubicBezTo>
                    <a:cubicBezTo>
                      <a:pt x="184" y="857"/>
                      <a:pt x="184" y="857"/>
                      <a:pt x="184" y="857"/>
                    </a:cubicBezTo>
                    <a:cubicBezTo>
                      <a:pt x="178" y="857"/>
                      <a:pt x="178" y="857"/>
                      <a:pt x="178" y="857"/>
                    </a:cubicBezTo>
                    <a:cubicBezTo>
                      <a:pt x="176" y="857"/>
                      <a:pt x="175" y="857"/>
                      <a:pt x="173" y="857"/>
                    </a:cubicBezTo>
                    <a:cubicBezTo>
                      <a:pt x="166" y="856"/>
                      <a:pt x="160" y="856"/>
                      <a:pt x="153" y="854"/>
                    </a:cubicBezTo>
                    <a:cubicBezTo>
                      <a:pt x="140" y="851"/>
                      <a:pt x="126" y="847"/>
                      <a:pt x="114" y="840"/>
                    </a:cubicBezTo>
                    <a:cubicBezTo>
                      <a:pt x="90" y="828"/>
                      <a:pt x="68" y="809"/>
                      <a:pt x="56" y="786"/>
                    </a:cubicBezTo>
                    <a:cubicBezTo>
                      <a:pt x="50" y="775"/>
                      <a:pt x="46" y="763"/>
                      <a:pt x="46" y="750"/>
                    </a:cubicBezTo>
                    <a:cubicBezTo>
                      <a:pt x="46" y="736"/>
                      <a:pt x="46" y="721"/>
                      <a:pt x="46" y="706"/>
                    </a:cubicBezTo>
                    <a:cubicBezTo>
                      <a:pt x="45" y="601"/>
                      <a:pt x="45" y="492"/>
                      <a:pt x="44" y="382"/>
                    </a:cubicBezTo>
                    <a:cubicBezTo>
                      <a:pt x="44" y="274"/>
                      <a:pt x="43" y="75"/>
                      <a:pt x="43" y="56"/>
                    </a:cubicBezTo>
                    <a:cubicBezTo>
                      <a:pt x="43" y="50"/>
                      <a:pt x="45" y="45"/>
                      <a:pt x="47" y="43"/>
                    </a:cubicBezTo>
                    <a:cubicBezTo>
                      <a:pt x="50" y="40"/>
                      <a:pt x="57" y="39"/>
                      <a:pt x="60" y="39"/>
                    </a:cubicBezTo>
                    <a:cubicBezTo>
                      <a:pt x="66" y="39"/>
                      <a:pt x="144" y="39"/>
                      <a:pt x="186" y="39"/>
                    </a:cubicBezTo>
                    <a:cubicBezTo>
                      <a:pt x="202" y="39"/>
                      <a:pt x="202" y="39"/>
                      <a:pt x="202" y="39"/>
                    </a:cubicBezTo>
                    <a:cubicBezTo>
                      <a:pt x="207" y="39"/>
                      <a:pt x="213" y="39"/>
                      <a:pt x="218" y="39"/>
                    </a:cubicBezTo>
                    <a:cubicBezTo>
                      <a:pt x="228" y="39"/>
                      <a:pt x="238" y="41"/>
                      <a:pt x="248" y="42"/>
                    </a:cubicBezTo>
                    <a:cubicBezTo>
                      <a:pt x="268" y="46"/>
                      <a:pt x="287" y="53"/>
                      <a:pt x="305" y="62"/>
                    </a:cubicBezTo>
                    <a:cubicBezTo>
                      <a:pt x="323" y="71"/>
                      <a:pt x="340" y="83"/>
                      <a:pt x="354" y="97"/>
                    </a:cubicBezTo>
                    <a:cubicBezTo>
                      <a:pt x="370" y="111"/>
                      <a:pt x="385" y="126"/>
                      <a:pt x="400" y="140"/>
                    </a:cubicBezTo>
                    <a:cubicBezTo>
                      <a:pt x="431" y="168"/>
                      <a:pt x="461" y="196"/>
                      <a:pt x="490" y="224"/>
                    </a:cubicBezTo>
                    <a:cubicBezTo>
                      <a:pt x="503" y="235"/>
                      <a:pt x="515" y="247"/>
                      <a:pt x="527" y="257"/>
                    </a:cubicBezTo>
                    <a:cubicBezTo>
                      <a:pt x="532" y="263"/>
                      <a:pt x="538" y="268"/>
                      <a:pt x="544" y="273"/>
                    </a:cubicBezTo>
                    <a:cubicBezTo>
                      <a:pt x="545" y="274"/>
                      <a:pt x="547" y="276"/>
                      <a:pt x="548" y="277"/>
                    </a:cubicBezTo>
                    <a:cubicBezTo>
                      <a:pt x="550" y="279"/>
                      <a:pt x="550" y="279"/>
                      <a:pt x="550" y="279"/>
                    </a:cubicBezTo>
                    <a:cubicBezTo>
                      <a:pt x="552" y="280"/>
                      <a:pt x="552" y="280"/>
                      <a:pt x="552" y="280"/>
                    </a:cubicBezTo>
                    <a:cubicBezTo>
                      <a:pt x="554" y="283"/>
                      <a:pt x="557" y="286"/>
                      <a:pt x="560" y="288"/>
                    </a:cubicBezTo>
                    <a:cubicBezTo>
                      <a:pt x="581" y="308"/>
                      <a:pt x="603" y="324"/>
                      <a:pt x="621" y="336"/>
                    </a:cubicBezTo>
                    <a:cubicBezTo>
                      <a:pt x="640" y="348"/>
                      <a:pt x="656" y="357"/>
                      <a:pt x="669" y="363"/>
                    </a:cubicBezTo>
                    <a:cubicBezTo>
                      <a:pt x="681" y="369"/>
                      <a:pt x="690" y="372"/>
                      <a:pt x="694" y="374"/>
                    </a:cubicBezTo>
                    <a:cubicBezTo>
                      <a:pt x="710" y="380"/>
                      <a:pt x="722" y="384"/>
                      <a:pt x="731" y="386"/>
                    </a:cubicBezTo>
                    <a:cubicBezTo>
                      <a:pt x="739" y="388"/>
                      <a:pt x="744" y="389"/>
                      <a:pt x="745" y="388"/>
                    </a:cubicBezTo>
                    <a:cubicBezTo>
                      <a:pt x="745" y="388"/>
                      <a:pt x="742" y="386"/>
                      <a:pt x="735" y="383"/>
                    </a:cubicBezTo>
                    <a:cubicBezTo>
                      <a:pt x="728" y="379"/>
                      <a:pt x="719" y="375"/>
                      <a:pt x="703" y="367"/>
                    </a:cubicBezTo>
                    <a:cubicBezTo>
                      <a:pt x="683" y="357"/>
                      <a:pt x="653" y="341"/>
                      <a:pt x="620" y="316"/>
                    </a:cubicBezTo>
                    <a:cubicBezTo>
                      <a:pt x="604" y="304"/>
                      <a:pt x="586" y="289"/>
                      <a:pt x="569" y="272"/>
                    </a:cubicBezTo>
                    <a:cubicBezTo>
                      <a:pt x="567" y="270"/>
                      <a:pt x="564" y="267"/>
                      <a:pt x="562" y="265"/>
                    </a:cubicBezTo>
                    <a:cubicBezTo>
                      <a:pt x="560" y="263"/>
                      <a:pt x="557" y="261"/>
                      <a:pt x="555" y="258"/>
                    </a:cubicBezTo>
                    <a:cubicBezTo>
                      <a:pt x="550" y="254"/>
                      <a:pt x="546" y="249"/>
                      <a:pt x="541" y="245"/>
                    </a:cubicBezTo>
                    <a:cubicBezTo>
                      <a:pt x="531" y="235"/>
                      <a:pt x="521" y="226"/>
                      <a:pt x="511" y="216"/>
                    </a:cubicBezTo>
                    <a:cubicBezTo>
                      <a:pt x="469" y="176"/>
                      <a:pt x="423" y="131"/>
                      <a:pt x="372" y="83"/>
                    </a:cubicBezTo>
                    <a:cubicBezTo>
                      <a:pt x="366" y="77"/>
                      <a:pt x="359" y="70"/>
                      <a:pt x="352" y="64"/>
                    </a:cubicBezTo>
                    <a:cubicBezTo>
                      <a:pt x="344" y="59"/>
                      <a:pt x="336" y="53"/>
                      <a:pt x="328" y="48"/>
                    </a:cubicBezTo>
                    <a:cubicBezTo>
                      <a:pt x="312" y="38"/>
                      <a:pt x="294" y="30"/>
                      <a:pt x="275" y="25"/>
                    </a:cubicBezTo>
                    <a:cubicBezTo>
                      <a:pt x="257" y="19"/>
                      <a:pt x="237" y="15"/>
                      <a:pt x="216" y="15"/>
                    </a:cubicBezTo>
                    <a:cubicBezTo>
                      <a:pt x="212" y="14"/>
                      <a:pt x="212" y="14"/>
                      <a:pt x="212" y="14"/>
                    </a:cubicBezTo>
                    <a:cubicBezTo>
                      <a:pt x="209" y="14"/>
                      <a:pt x="209" y="14"/>
                      <a:pt x="209" y="14"/>
                    </a:cubicBezTo>
                    <a:cubicBezTo>
                      <a:pt x="202" y="14"/>
                      <a:pt x="202" y="14"/>
                      <a:pt x="202" y="14"/>
                    </a:cubicBezTo>
                    <a:cubicBezTo>
                      <a:pt x="197" y="14"/>
                      <a:pt x="192" y="14"/>
                      <a:pt x="187" y="14"/>
                    </a:cubicBezTo>
                    <a:cubicBezTo>
                      <a:pt x="177" y="14"/>
                      <a:pt x="167" y="14"/>
                      <a:pt x="157" y="14"/>
                    </a:cubicBezTo>
                    <a:cubicBezTo>
                      <a:pt x="122" y="14"/>
                      <a:pt x="80" y="13"/>
                      <a:pt x="50" y="13"/>
                    </a:cubicBezTo>
                    <a:cubicBezTo>
                      <a:pt x="32" y="13"/>
                      <a:pt x="17" y="23"/>
                      <a:pt x="17" y="46"/>
                    </a:cubicBezTo>
                    <a:cubicBezTo>
                      <a:pt x="17" y="59"/>
                      <a:pt x="17" y="87"/>
                      <a:pt x="17" y="108"/>
                    </a:cubicBezTo>
                    <a:cubicBezTo>
                      <a:pt x="16" y="278"/>
                      <a:pt x="16" y="456"/>
                      <a:pt x="16" y="632"/>
                    </a:cubicBezTo>
                    <a:cubicBezTo>
                      <a:pt x="16" y="653"/>
                      <a:pt x="16" y="675"/>
                      <a:pt x="16" y="697"/>
                    </a:cubicBezTo>
                    <a:cubicBezTo>
                      <a:pt x="16" y="708"/>
                      <a:pt x="16" y="719"/>
                      <a:pt x="16" y="730"/>
                    </a:cubicBezTo>
                    <a:cubicBezTo>
                      <a:pt x="16" y="746"/>
                      <a:pt x="16" y="746"/>
                      <a:pt x="16" y="746"/>
                    </a:cubicBezTo>
                    <a:cubicBezTo>
                      <a:pt x="16" y="750"/>
                      <a:pt x="16" y="750"/>
                      <a:pt x="16" y="750"/>
                    </a:cubicBezTo>
                    <a:cubicBezTo>
                      <a:pt x="16" y="752"/>
                      <a:pt x="16" y="753"/>
                      <a:pt x="16" y="755"/>
                    </a:cubicBezTo>
                    <a:cubicBezTo>
                      <a:pt x="16" y="758"/>
                      <a:pt x="17" y="761"/>
                      <a:pt x="17" y="764"/>
                    </a:cubicBezTo>
                    <a:cubicBezTo>
                      <a:pt x="19" y="776"/>
                      <a:pt x="23" y="788"/>
                      <a:pt x="28" y="799"/>
                    </a:cubicBezTo>
                    <a:cubicBezTo>
                      <a:pt x="34" y="810"/>
                      <a:pt x="41" y="820"/>
                      <a:pt x="49" y="828"/>
                    </a:cubicBezTo>
                    <a:cubicBezTo>
                      <a:pt x="65" y="846"/>
                      <a:pt x="84" y="859"/>
                      <a:pt x="104" y="869"/>
                    </a:cubicBezTo>
                    <a:cubicBezTo>
                      <a:pt x="125" y="879"/>
                      <a:pt x="147" y="886"/>
                      <a:pt x="170" y="887"/>
                    </a:cubicBezTo>
                    <a:cubicBezTo>
                      <a:pt x="173" y="887"/>
                      <a:pt x="176" y="887"/>
                      <a:pt x="179" y="887"/>
                    </a:cubicBezTo>
                    <a:cubicBezTo>
                      <a:pt x="187" y="887"/>
                      <a:pt x="187" y="887"/>
                      <a:pt x="187" y="887"/>
                    </a:cubicBezTo>
                    <a:cubicBezTo>
                      <a:pt x="192" y="887"/>
                      <a:pt x="197" y="887"/>
                      <a:pt x="202" y="887"/>
                    </a:cubicBezTo>
                    <a:cubicBezTo>
                      <a:pt x="208" y="887"/>
                      <a:pt x="213" y="887"/>
                      <a:pt x="218" y="886"/>
                    </a:cubicBezTo>
                    <a:cubicBezTo>
                      <a:pt x="227" y="886"/>
                      <a:pt x="227" y="886"/>
                      <a:pt x="227" y="886"/>
                    </a:cubicBezTo>
                    <a:cubicBezTo>
                      <a:pt x="230" y="886"/>
                      <a:pt x="234" y="885"/>
                      <a:pt x="237" y="885"/>
                    </a:cubicBezTo>
                    <a:cubicBezTo>
                      <a:pt x="244" y="884"/>
                      <a:pt x="251" y="883"/>
                      <a:pt x="257" y="881"/>
                    </a:cubicBezTo>
                    <a:cubicBezTo>
                      <a:pt x="263" y="879"/>
                      <a:pt x="268" y="874"/>
                      <a:pt x="270" y="868"/>
                    </a:cubicBezTo>
                    <a:cubicBezTo>
                      <a:pt x="273" y="862"/>
                      <a:pt x="274" y="856"/>
                      <a:pt x="274" y="849"/>
                    </a:cubicBezTo>
                    <a:cubicBezTo>
                      <a:pt x="274" y="839"/>
                      <a:pt x="274" y="839"/>
                      <a:pt x="274" y="839"/>
                    </a:cubicBezTo>
                    <a:cubicBezTo>
                      <a:pt x="274" y="834"/>
                      <a:pt x="274" y="834"/>
                      <a:pt x="274" y="834"/>
                    </a:cubicBezTo>
                    <a:cubicBezTo>
                      <a:pt x="274" y="830"/>
                      <a:pt x="274" y="830"/>
                      <a:pt x="274" y="830"/>
                    </a:cubicBezTo>
                    <a:cubicBezTo>
                      <a:pt x="274" y="810"/>
                      <a:pt x="273" y="789"/>
                      <a:pt x="273" y="770"/>
                    </a:cubicBezTo>
                    <a:cubicBezTo>
                      <a:pt x="273" y="730"/>
                      <a:pt x="273" y="691"/>
                      <a:pt x="273" y="653"/>
                    </a:cubicBezTo>
                    <a:cubicBezTo>
                      <a:pt x="272" y="635"/>
                      <a:pt x="272" y="616"/>
                      <a:pt x="272" y="598"/>
                    </a:cubicBezTo>
                    <a:cubicBezTo>
                      <a:pt x="272" y="581"/>
                      <a:pt x="277" y="565"/>
                      <a:pt x="284" y="550"/>
                    </a:cubicBezTo>
                    <a:cubicBezTo>
                      <a:pt x="291" y="536"/>
                      <a:pt x="302" y="523"/>
                      <a:pt x="314" y="514"/>
                    </a:cubicBezTo>
                    <a:cubicBezTo>
                      <a:pt x="327" y="504"/>
                      <a:pt x="341" y="497"/>
                      <a:pt x="355" y="494"/>
                    </a:cubicBezTo>
                    <a:cubicBezTo>
                      <a:pt x="363" y="492"/>
                      <a:pt x="370" y="492"/>
                      <a:pt x="378" y="491"/>
                    </a:cubicBezTo>
                    <a:cubicBezTo>
                      <a:pt x="385" y="491"/>
                      <a:pt x="393" y="492"/>
                      <a:pt x="401" y="492"/>
                    </a:cubicBezTo>
                    <a:cubicBezTo>
                      <a:pt x="416" y="494"/>
                      <a:pt x="430" y="497"/>
                      <a:pt x="444" y="502"/>
                    </a:cubicBezTo>
                    <a:cubicBezTo>
                      <a:pt x="472" y="511"/>
                      <a:pt x="497" y="525"/>
                      <a:pt x="519" y="539"/>
                    </a:cubicBezTo>
                    <a:cubicBezTo>
                      <a:pt x="541" y="554"/>
                      <a:pt x="560" y="570"/>
                      <a:pt x="578" y="585"/>
                    </a:cubicBezTo>
                    <a:cubicBezTo>
                      <a:pt x="596" y="601"/>
                      <a:pt x="612" y="615"/>
                      <a:pt x="627" y="628"/>
                    </a:cubicBezTo>
                    <a:cubicBezTo>
                      <a:pt x="641" y="642"/>
                      <a:pt x="655" y="653"/>
                      <a:pt x="667" y="663"/>
                    </a:cubicBezTo>
                    <a:cubicBezTo>
                      <a:pt x="685" y="678"/>
                      <a:pt x="696" y="687"/>
                      <a:pt x="707" y="696"/>
                    </a:cubicBezTo>
                    <a:cubicBezTo>
                      <a:pt x="740" y="722"/>
                      <a:pt x="751" y="728"/>
                      <a:pt x="738" y="714"/>
                    </a:cubicBezTo>
                    <a:cubicBezTo>
                      <a:pt x="725" y="701"/>
                      <a:pt x="712" y="688"/>
                      <a:pt x="694" y="67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20598786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FA6A3DC-FDEA-4382-8493-321E8A9AA8F0}"/>
              </a:ext>
            </a:extLst>
          </p:cNvPr>
          <p:cNvSpPr>
            <a:spLocks noGrp="1"/>
          </p:cNvSpPr>
          <p:nvPr>
            <p:ph type="sldNum" sz="quarter" idx="10"/>
          </p:nvPr>
        </p:nvSpPr>
        <p:spPr/>
        <p:txBody>
          <a:bodyPr/>
          <a:lstStyle/>
          <a:p>
            <a:fld id="{FD5E7EB4-4CDF-47BB-AF16-07782904B863}" type="slidenum">
              <a:rPr lang="en-US" smtClean="0"/>
              <a:pPr/>
              <a:t>‹N°›</a:t>
            </a:fld>
            <a:endParaRPr lang="en-US" dirty="0"/>
          </a:p>
        </p:txBody>
      </p:sp>
      <p:sp>
        <p:nvSpPr>
          <p:cNvPr id="4" name="Fußzeilenplatzhalter 3">
            <a:extLst>
              <a:ext uri="{FF2B5EF4-FFF2-40B4-BE49-F238E27FC236}">
                <a16:creationId xmlns:a16="http://schemas.microsoft.com/office/drawing/2014/main" id="{A0E66E2D-2081-4CBD-AB23-ED766CEA551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6720248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1" name="Rechteck 40">
            <a:extLst>
              <a:ext uri="{FF2B5EF4-FFF2-40B4-BE49-F238E27FC236}">
                <a16:creationId xmlns:a16="http://schemas.microsoft.com/office/drawing/2014/main" id="{DDEA802F-BA58-455F-8B93-343C28717666}"/>
              </a:ext>
            </a:extLst>
          </p:cNvPr>
          <p:cNvSpPr/>
          <p:nvPr userDrawn="1"/>
        </p:nvSpPr>
        <p:spPr bwMode="gray">
          <a:xfrm>
            <a:off x="0" y="0"/>
            <a:ext cx="12192000" cy="6858000"/>
          </a:xfrm>
          <a:prstGeom prst="rect">
            <a:avLst/>
          </a:prstGeom>
          <a:solidFill>
            <a:schemeClr val="accent3"/>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sp>
        <p:nvSpPr>
          <p:cNvPr id="96" name="Freihandform: Form 95">
            <a:extLst>
              <a:ext uri="{FF2B5EF4-FFF2-40B4-BE49-F238E27FC236}">
                <a16:creationId xmlns:a16="http://schemas.microsoft.com/office/drawing/2014/main" id="{A93CFD0D-3891-4D2C-8507-396E5AC9DDA1}"/>
              </a:ext>
            </a:extLst>
          </p:cNvPr>
          <p:cNvSpPr/>
          <p:nvPr/>
        </p:nvSpPr>
        <p:spPr>
          <a:xfrm>
            <a:off x="367730" y="0"/>
            <a:ext cx="11824270" cy="5229200"/>
          </a:xfrm>
          <a:custGeom>
            <a:avLst/>
            <a:gdLst>
              <a:gd name="connsiteX0" fmla="*/ 0 w 11824270"/>
              <a:gd name="connsiteY0" fmla="*/ 0 h 4619384"/>
              <a:gd name="connsiteX1" fmla="*/ 11824270 w 11824270"/>
              <a:gd name="connsiteY1" fmla="*/ 0 h 4619384"/>
              <a:gd name="connsiteX2" fmla="*/ 11824270 w 11824270"/>
              <a:gd name="connsiteY2" fmla="*/ 2447859 h 4619384"/>
              <a:gd name="connsiteX3" fmla="*/ 10972740 w 11824270"/>
              <a:gd name="connsiteY3" fmla="*/ 3584284 h 4619384"/>
              <a:gd name="connsiteX4" fmla="*/ 6889594 w 11824270"/>
              <a:gd name="connsiteY4" fmla="*/ 4169742 h 4619384"/>
              <a:gd name="connsiteX5" fmla="*/ 2748758 w 11824270"/>
              <a:gd name="connsiteY5" fmla="*/ 2770995 h 4619384"/>
              <a:gd name="connsiteX6" fmla="*/ 25032 w 11824270"/>
              <a:gd name="connsiteY6" fmla="*/ 164970 h 4619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24270" h="4619384">
                <a:moveTo>
                  <a:pt x="0" y="0"/>
                </a:moveTo>
                <a:lnTo>
                  <a:pt x="11824270" y="0"/>
                </a:lnTo>
                <a:lnTo>
                  <a:pt x="11824270" y="2447859"/>
                </a:lnTo>
                <a:lnTo>
                  <a:pt x="10972740" y="3584284"/>
                </a:lnTo>
                <a:cubicBezTo>
                  <a:pt x="10972740" y="3584284"/>
                  <a:pt x="10021535" y="5451988"/>
                  <a:pt x="6889594" y="4169742"/>
                </a:cubicBezTo>
                <a:lnTo>
                  <a:pt x="2748758" y="2770995"/>
                </a:lnTo>
                <a:cubicBezTo>
                  <a:pt x="2748758" y="2770995"/>
                  <a:pt x="350858" y="1789276"/>
                  <a:pt x="25032" y="164970"/>
                </a:cubicBezTo>
                <a:close/>
              </a:path>
            </a:pathLst>
          </a:custGeom>
          <a:solidFill>
            <a:schemeClr val="accent1"/>
          </a:solidFill>
          <a:ln w="9525" cap="flat">
            <a:noFill/>
            <a:prstDash val="solid"/>
            <a:miter/>
          </a:ln>
        </p:spPr>
        <p:txBody>
          <a:bodyPr rtlCol="0" anchor="ctr"/>
          <a:lstStyle/>
          <a:p>
            <a:endParaRPr lang="en-US" dirty="0"/>
          </a:p>
        </p:txBody>
      </p:sp>
      <p:sp>
        <p:nvSpPr>
          <p:cNvPr id="16" name="Freihandform: Form 15">
            <a:extLst>
              <a:ext uri="{FF2B5EF4-FFF2-40B4-BE49-F238E27FC236}">
                <a16:creationId xmlns:a16="http://schemas.microsoft.com/office/drawing/2014/main" id="{4EA67FAE-85C9-49A9-9B5B-A33098CFBBA8}"/>
              </a:ext>
            </a:extLst>
          </p:cNvPr>
          <p:cNvSpPr/>
          <p:nvPr/>
        </p:nvSpPr>
        <p:spPr>
          <a:xfrm>
            <a:off x="-14294" y="2916459"/>
            <a:ext cx="6238044" cy="3962793"/>
          </a:xfrm>
          <a:custGeom>
            <a:avLst/>
            <a:gdLst>
              <a:gd name="connsiteX0" fmla="*/ 1104758 w 6238044"/>
              <a:gd name="connsiteY0" fmla="*/ 761 h 3962793"/>
              <a:gd name="connsiteX1" fmla="*/ 1189354 w 6238044"/>
              <a:gd name="connsiteY1" fmla="*/ 1634 h 3962793"/>
              <a:gd name="connsiteX2" fmla="*/ 1814556 w 6238044"/>
              <a:gd name="connsiteY2" fmla="*/ 151210 h 3962793"/>
              <a:gd name="connsiteX3" fmla="*/ 5166167 w 6238044"/>
              <a:gd name="connsiteY3" fmla="*/ 1590933 h 3962793"/>
              <a:gd name="connsiteX4" fmla="*/ 6219359 w 6238044"/>
              <a:gd name="connsiteY4" fmla="*/ 3513198 h 3962793"/>
              <a:gd name="connsiteX5" fmla="*/ 6203420 w 6238044"/>
              <a:gd name="connsiteY5" fmla="*/ 3962793 h 3962793"/>
              <a:gd name="connsiteX6" fmla="*/ 0 w 6238044"/>
              <a:gd name="connsiteY6" fmla="*/ 3962793 h 3962793"/>
              <a:gd name="connsiteX7" fmla="*/ 0 w 6238044"/>
              <a:gd name="connsiteY7" fmla="*/ 2199001 h 3962793"/>
              <a:gd name="connsiteX8" fmla="*/ 80125 w 6238044"/>
              <a:gd name="connsiteY8" fmla="*/ 1513928 h 3962793"/>
              <a:gd name="connsiteX9" fmla="*/ 1104758 w 6238044"/>
              <a:gd name="connsiteY9" fmla="*/ 761 h 396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8044" h="3962793">
                <a:moveTo>
                  <a:pt x="1104758" y="761"/>
                </a:moveTo>
                <a:cubicBezTo>
                  <a:pt x="1132244" y="-475"/>
                  <a:pt x="1160437" y="-217"/>
                  <a:pt x="1189354" y="1634"/>
                </a:cubicBezTo>
                <a:cubicBezTo>
                  <a:pt x="1189354" y="1634"/>
                  <a:pt x="1514911" y="22618"/>
                  <a:pt x="1814556" y="151210"/>
                </a:cubicBezTo>
                <a:lnTo>
                  <a:pt x="5166167" y="1590933"/>
                </a:lnTo>
                <a:cubicBezTo>
                  <a:pt x="5166167" y="1590933"/>
                  <a:pt x="6403487" y="1941671"/>
                  <a:pt x="6219359" y="3513198"/>
                </a:cubicBezTo>
                <a:lnTo>
                  <a:pt x="6203420" y="3962793"/>
                </a:lnTo>
                <a:lnTo>
                  <a:pt x="0" y="3962793"/>
                </a:lnTo>
                <a:lnTo>
                  <a:pt x="0" y="2199001"/>
                </a:lnTo>
                <a:lnTo>
                  <a:pt x="80125" y="1513928"/>
                </a:lnTo>
                <a:cubicBezTo>
                  <a:pt x="80125" y="1513928"/>
                  <a:pt x="252694" y="39087"/>
                  <a:pt x="1104758" y="761"/>
                </a:cubicBezTo>
                <a:close/>
              </a:path>
            </a:pathLst>
          </a:custGeom>
          <a:solidFill>
            <a:schemeClr val="accent1"/>
          </a:solidFill>
          <a:ln w="3003" cap="flat">
            <a:noFill/>
            <a:prstDash val="solid"/>
            <a:miter/>
          </a:ln>
        </p:spPr>
        <p:txBody>
          <a:bodyPr wrap="square" rtlCol="0" anchor="ctr">
            <a:noAutofit/>
          </a:bodyPr>
          <a:lstStyle/>
          <a:p>
            <a:endParaRPr lang="en-US" dirty="0"/>
          </a:p>
        </p:txBody>
      </p:sp>
      <p:sp>
        <p:nvSpPr>
          <p:cNvPr id="2" name="Title 1"/>
          <p:cNvSpPr>
            <a:spLocks noGrp="1"/>
          </p:cNvSpPr>
          <p:nvPr userDrawn="1">
            <p:ph type="title" hasCustomPrompt="1"/>
          </p:nvPr>
        </p:nvSpPr>
        <p:spPr bwMode="gray">
          <a:xfrm>
            <a:off x="6240463" y="1484784"/>
            <a:ext cx="5327651" cy="1368151"/>
          </a:xfrm>
          <a:prstGeom prst="rect">
            <a:avLst/>
          </a:prstGeom>
          <a:noFill/>
        </p:spPr>
        <p:txBody>
          <a:bodyPr tIns="72000" bIns="0" anchor="t" anchorCtr="0"/>
          <a:lstStyle>
            <a:lvl1pPr>
              <a:lnSpc>
                <a:spcPct val="100000"/>
              </a:lnSpc>
              <a:defRPr sz="3600" b="0" cap="none" baseline="0">
                <a:solidFill>
                  <a:schemeClr val="accent3"/>
                </a:solidFill>
                <a:latin typeface="Merck" panose="04040805020F02020302" pitchFamily="82" charset="0"/>
              </a:defRPr>
            </a:lvl1pPr>
          </a:lstStyle>
          <a:p>
            <a:pPr lvl="0"/>
            <a:r>
              <a:rPr lang="en-US" noProof="0" dirty="0"/>
              <a:t>Chapter name </a:t>
            </a:r>
            <a:br>
              <a:rPr lang="en-US" noProof="0" dirty="0"/>
            </a:br>
            <a:r>
              <a:rPr lang="en-US" noProof="0" dirty="0"/>
              <a:t>in two lines</a:t>
            </a:r>
          </a:p>
        </p:txBody>
      </p:sp>
      <p:grpSp>
        <p:nvGrpSpPr>
          <p:cNvPr id="10" name="Group 9"/>
          <p:cNvGrpSpPr>
            <a:grpSpLocks noChangeAspect="1"/>
          </p:cNvGrpSpPr>
          <p:nvPr userDrawn="1">
            <p:custDataLst>
              <p:tags r:id="rId1"/>
            </p:custDataLst>
          </p:nvPr>
        </p:nvGrpSpPr>
        <p:grpSpPr bwMode="gray">
          <a:xfrm>
            <a:off x="10539522" y="6440320"/>
            <a:ext cx="1028592" cy="162000"/>
            <a:chOff x="-4548188" y="3063875"/>
            <a:chExt cx="2741613" cy="431800"/>
          </a:xfrm>
          <a:solidFill>
            <a:schemeClr val="bg2"/>
          </a:solidFill>
        </p:grpSpPr>
        <p:sp>
          <p:nvSpPr>
            <p:cNvPr id="11"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 name="Text Placeholder 16"/>
          <p:cNvSpPr>
            <a:spLocks noGrp="1"/>
          </p:cNvSpPr>
          <p:nvPr>
            <p:ph type="body" sz="quarter" idx="13" hasCustomPrompt="1"/>
          </p:nvPr>
        </p:nvSpPr>
        <p:spPr bwMode="gray">
          <a:xfrm>
            <a:off x="623888" y="3861048"/>
            <a:ext cx="3455987" cy="2231777"/>
          </a:xfrm>
          <a:prstGeom prst="rect">
            <a:avLst/>
          </a:prstGeom>
        </p:spPr>
        <p:txBody>
          <a:bodyPr wrap="none" anchor="b"/>
          <a:lstStyle>
            <a:lvl1pPr marL="0" indent="0">
              <a:buFont typeface="Arial" panose="020B0604020202020204" pitchFamily="34" charset="0"/>
              <a:buNone/>
              <a:defRPr sz="11500" b="0">
                <a:ln>
                  <a:noFill/>
                </a:ln>
                <a:solidFill>
                  <a:schemeClr val="bg2"/>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dirty="0"/>
              <a:t>00</a:t>
            </a:r>
          </a:p>
        </p:txBody>
      </p:sp>
    </p:spTree>
    <p:extLst>
      <p:ext uri="{BB962C8B-B14F-4D97-AF65-F5344CB8AC3E}">
        <p14:creationId xmlns:p14="http://schemas.microsoft.com/office/powerpoint/2010/main" val="302551441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lai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5">
            <a:extLst>
              <a:ext uri="{FF2B5EF4-FFF2-40B4-BE49-F238E27FC236}">
                <a16:creationId xmlns:a16="http://schemas.microsoft.com/office/drawing/2014/main" id="{2A464F6F-4597-480B-B9C2-1012D960E1F9}"/>
              </a:ext>
            </a:extLst>
          </p:cNvPr>
          <p:cNvSpPr/>
          <p:nvPr userDrawn="1"/>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dirty="0">
              <a:solidFill>
                <a:srgbClr val="FFFFFF"/>
              </a:solidFill>
              <a:latin typeface="Verdana"/>
            </a:endParaRPr>
          </a:p>
        </p:txBody>
      </p:sp>
      <p:grpSp>
        <p:nvGrpSpPr>
          <p:cNvPr id="11" name="Group 9">
            <a:extLst>
              <a:ext uri="{FF2B5EF4-FFF2-40B4-BE49-F238E27FC236}">
                <a16:creationId xmlns:a16="http://schemas.microsoft.com/office/drawing/2014/main" id="{E9FB9E7E-892B-4561-B616-E8412619999D}"/>
              </a:ext>
            </a:extLst>
          </p:cNvPr>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bg2"/>
          </a:solidFill>
        </p:grpSpPr>
        <p:sp>
          <p:nvSpPr>
            <p:cNvPr id="12" name="Freeform 9">
              <a:extLst>
                <a:ext uri="{FF2B5EF4-FFF2-40B4-BE49-F238E27FC236}">
                  <a16:creationId xmlns:a16="http://schemas.microsoft.com/office/drawing/2014/main" id="{E8D3DF9A-12A0-4A40-9492-E8B6D8CD5EE1}"/>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3">
              <a:extLst>
                <a:ext uri="{FF2B5EF4-FFF2-40B4-BE49-F238E27FC236}">
                  <a16:creationId xmlns:a16="http://schemas.microsoft.com/office/drawing/2014/main" id="{7D7927C6-DEB7-46C4-9771-9FD7640A4A17}"/>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0">
              <a:extLst>
                <a:ext uri="{FF2B5EF4-FFF2-40B4-BE49-F238E27FC236}">
                  <a16:creationId xmlns:a16="http://schemas.microsoft.com/office/drawing/2014/main" id="{7A2E787A-EA59-44DC-9B06-F1D113E44A26}"/>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1">
              <a:extLst>
                <a:ext uri="{FF2B5EF4-FFF2-40B4-BE49-F238E27FC236}">
                  <a16:creationId xmlns:a16="http://schemas.microsoft.com/office/drawing/2014/main" id="{39601FE1-2D54-4523-B070-7E325662CACE}"/>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2">
              <a:extLst>
                <a:ext uri="{FF2B5EF4-FFF2-40B4-BE49-F238E27FC236}">
                  <a16:creationId xmlns:a16="http://schemas.microsoft.com/office/drawing/2014/main" id="{32AD79D0-BC70-4222-B870-82D2C7CE26CC}"/>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9" name="Grafik 18">
            <a:extLst>
              <a:ext uri="{FF2B5EF4-FFF2-40B4-BE49-F238E27FC236}">
                <a16:creationId xmlns:a16="http://schemas.microsoft.com/office/drawing/2014/main" id="{BE6560FA-0050-4D76-BAFF-9E4A8212529B}"/>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6883"/>
          <a:stretch/>
        </p:blipFill>
        <p:spPr>
          <a:xfrm>
            <a:off x="0" y="1996813"/>
            <a:ext cx="5492158" cy="3599135"/>
          </a:xfrm>
          <a:prstGeom prst="rect">
            <a:avLst/>
          </a:prstGeom>
        </p:spPr>
      </p:pic>
      <p:sp>
        <p:nvSpPr>
          <p:cNvPr id="17" name="Text Placeholder 16">
            <a:extLst>
              <a:ext uri="{FF2B5EF4-FFF2-40B4-BE49-F238E27FC236}">
                <a16:creationId xmlns:a16="http://schemas.microsoft.com/office/drawing/2014/main" id="{603041AA-E85F-4369-91A9-BA8362CAD980}"/>
              </a:ext>
            </a:extLst>
          </p:cNvPr>
          <p:cNvSpPr>
            <a:spLocks noGrp="1"/>
          </p:cNvSpPr>
          <p:nvPr>
            <p:ph type="body" sz="quarter" idx="13" hasCustomPrompt="1"/>
          </p:nvPr>
        </p:nvSpPr>
        <p:spPr bwMode="gray">
          <a:xfrm>
            <a:off x="5951538" y="1989138"/>
            <a:ext cx="5617069" cy="1251710"/>
          </a:xfrm>
          <a:prstGeom prst="rect">
            <a:avLst/>
          </a:prstGeom>
        </p:spPr>
        <p:txBody>
          <a:bodyPr wrap="none" tIns="0" bIns="216000" anchor="ctr"/>
          <a:lstStyle>
            <a:lvl1pPr marL="0" indent="0" algn="l">
              <a:buFont typeface="Arial" panose="020B0604020202020204" pitchFamily="34" charset="0"/>
              <a:buNone/>
              <a:defRPr sz="11500" b="0">
                <a:ln>
                  <a:noFill/>
                </a:ln>
                <a:solidFill>
                  <a:schemeClr val="bg2"/>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dirty="0"/>
              <a:t>00</a:t>
            </a:r>
          </a:p>
        </p:txBody>
      </p:sp>
      <p:sp>
        <p:nvSpPr>
          <p:cNvPr id="18" name="Title 1">
            <a:extLst>
              <a:ext uri="{FF2B5EF4-FFF2-40B4-BE49-F238E27FC236}">
                <a16:creationId xmlns:a16="http://schemas.microsoft.com/office/drawing/2014/main" id="{80EBAF27-0FC6-4049-ACB6-EE367C82A72D}"/>
              </a:ext>
            </a:extLst>
          </p:cNvPr>
          <p:cNvSpPr>
            <a:spLocks noGrp="1"/>
          </p:cNvSpPr>
          <p:nvPr>
            <p:ph type="title" hasCustomPrompt="1"/>
          </p:nvPr>
        </p:nvSpPr>
        <p:spPr bwMode="gray">
          <a:xfrm>
            <a:off x="5951538" y="3356992"/>
            <a:ext cx="5617070" cy="2232000"/>
          </a:xfrm>
          <a:prstGeom prst="rect">
            <a:avLst/>
          </a:prstGeom>
          <a:noFill/>
        </p:spPr>
        <p:txBody>
          <a:bodyPr tIns="72000" bIns="0" anchor="t" anchorCtr="0"/>
          <a:lstStyle>
            <a:lvl1pPr>
              <a:lnSpc>
                <a:spcPct val="100000"/>
              </a:lnSpc>
              <a:defRPr sz="3600" b="0" cap="none" baseline="0">
                <a:solidFill>
                  <a:schemeClr val="accent1"/>
                </a:solidFill>
                <a:latin typeface="Merck" panose="04040805020F02020302" pitchFamily="82" charset="0"/>
              </a:defRPr>
            </a:lvl1pPr>
          </a:lstStyle>
          <a:p>
            <a:pPr lvl="0"/>
            <a:r>
              <a:rPr lang="en-US" noProof="0" dirty="0"/>
              <a:t>Chapter name </a:t>
            </a:r>
            <a:br>
              <a:rPr lang="en-US" noProof="0" dirty="0"/>
            </a:br>
            <a:r>
              <a:rPr lang="en-US" noProof="0" dirty="0"/>
              <a:t>in two lines </a:t>
            </a:r>
          </a:p>
        </p:txBody>
      </p:sp>
    </p:spTree>
    <p:extLst>
      <p:ext uri="{BB962C8B-B14F-4D97-AF65-F5344CB8AC3E}">
        <p14:creationId xmlns:p14="http://schemas.microsoft.com/office/powerpoint/2010/main" val="269919403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53" imgH="353" progId="TCLayout.ActiveDocument.1">
                  <p:embed/>
                </p:oleObj>
              </mc:Choice>
              <mc:Fallback>
                <p:oleObj name="think-cell Slide" r:id="rId7" imgW="353" imgH="353"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dirty="0">
              <a:solidFill>
                <a:srgbClr val="FFFFFF"/>
              </a:solidFill>
              <a:latin typeface="Verdana"/>
            </a:endParaRPr>
          </a:p>
        </p:txBody>
      </p:sp>
      <p:sp>
        <p:nvSpPr>
          <p:cNvPr id="26" name="Text Placeholder AP1 Details">
            <a:extLst>
              <a:ext uri="{FF2B5EF4-FFF2-40B4-BE49-F238E27FC236}">
                <a16:creationId xmlns:a16="http://schemas.microsoft.com/office/drawing/2014/main" id="{A044A40A-5AE5-4935-AC72-C95542D1DEA2}"/>
              </a:ext>
            </a:extLst>
          </p:cNvPr>
          <p:cNvSpPr>
            <a:spLocks noGrp="1"/>
          </p:cNvSpPr>
          <p:nvPr>
            <p:ph type="body" sz="quarter" idx="19" hasCustomPrompt="1"/>
          </p:nvPr>
        </p:nvSpPr>
        <p:spPr bwMode="gray">
          <a:xfrm>
            <a:off x="624092" y="1988680"/>
            <a:ext cx="2519767" cy="1655976"/>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dirty="0"/>
              <a:t>Add your contact details here.</a:t>
            </a:r>
          </a:p>
        </p:txBody>
      </p:sp>
      <p:sp>
        <p:nvSpPr>
          <p:cNvPr id="27" name="Text Placeholder AP1 Name">
            <a:extLst>
              <a:ext uri="{FF2B5EF4-FFF2-40B4-BE49-F238E27FC236}">
                <a16:creationId xmlns:a16="http://schemas.microsoft.com/office/drawing/2014/main" id="{D80BF774-AD49-43E5-B588-D2C38ADACB1E}"/>
              </a:ext>
            </a:extLst>
          </p:cNvPr>
          <p:cNvSpPr>
            <a:spLocks noGrp="1"/>
          </p:cNvSpPr>
          <p:nvPr>
            <p:ph type="body" sz="quarter" idx="10" hasCustomPrompt="1"/>
          </p:nvPr>
        </p:nvSpPr>
        <p:spPr bwMode="gray">
          <a:xfrm>
            <a:off x="624001" y="148478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smtClean="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dirty="0"/>
              <a:t>Contact (Please edit)</a:t>
            </a:r>
          </a:p>
        </p:txBody>
      </p:sp>
      <p:sp>
        <p:nvSpPr>
          <p:cNvPr id="30" name="Text Placeholder AP1 Details">
            <a:extLst>
              <a:ext uri="{FF2B5EF4-FFF2-40B4-BE49-F238E27FC236}">
                <a16:creationId xmlns:a16="http://schemas.microsoft.com/office/drawing/2014/main" id="{3869F9E3-77EF-4FF5-AF01-30C37DAB0666}"/>
              </a:ext>
            </a:extLst>
          </p:cNvPr>
          <p:cNvSpPr>
            <a:spLocks noGrp="1"/>
          </p:cNvSpPr>
          <p:nvPr>
            <p:ph type="body" sz="quarter" idx="20" hasCustomPrompt="1"/>
          </p:nvPr>
        </p:nvSpPr>
        <p:spPr bwMode="gray">
          <a:xfrm>
            <a:off x="623483" y="4437320"/>
            <a:ext cx="2519767" cy="1655976"/>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dirty="0"/>
              <a:t>Add your contact details here.</a:t>
            </a:r>
          </a:p>
        </p:txBody>
      </p:sp>
      <p:sp>
        <p:nvSpPr>
          <p:cNvPr id="31" name="Text Placeholder AP1 Name">
            <a:extLst>
              <a:ext uri="{FF2B5EF4-FFF2-40B4-BE49-F238E27FC236}">
                <a16:creationId xmlns:a16="http://schemas.microsoft.com/office/drawing/2014/main" id="{2C1D0C0C-A18B-4E74-9695-ACEE016EE2D7}"/>
              </a:ext>
            </a:extLst>
          </p:cNvPr>
          <p:cNvSpPr>
            <a:spLocks noGrp="1"/>
          </p:cNvSpPr>
          <p:nvPr>
            <p:ph type="body" sz="quarter" idx="21" hasCustomPrompt="1"/>
          </p:nvPr>
        </p:nvSpPr>
        <p:spPr bwMode="gray">
          <a:xfrm>
            <a:off x="623392" y="393342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smtClean="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dirty="0"/>
              <a:t>Contact (Please edit)</a:t>
            </a:r>
          </a:p>
        </p:txBody>
      </p:sp>
      <p:sp>
        <p:nvSpPr>
          <p:cNvPr id="34" name="Text Placeholder AP1 Details">
            <a:extLst>
              <a:ext uri="{FF2B5EF4-FFF2-40B4-BE49-F238E27FC236}">
                <a16:creationId xmlns:a16="http://schemas.microsoft.com/office/drawing/2014/main" id="{FACF4A5F-B896-4BBB-80A0-0C4F34E2C771}"/>
              </a:ext>
            </a:extLst>
          </p:cNvPr>
          <p:cNvSpPr>
            <a:spLocks noGrp="1"/>
          </p:cNvSpPr>
          <p:nvPr>
            <p:ph type="body" sz="quarter" idx="22" hasCustomPrompt="1"/>
          </p:nvPr>
        </p:nvSpPr>
        <p:spPr bwMode="gray">
          <a:xfrm>
            <a:off x="3431795" y="4436952"/>
            <a:ext cx="2519767" cy="1655976"/>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dirty="0"/>
              <a:t>Add your contact details here.</a:t>
            </a:r>
          </a:p>
        </p:txBody>
      </p:sp>
      <p:sp>
        <p:nvSpPr>
          <p:cNvPr id="35" name="Text Placeholder AP1 Name">
            <a:extLst>
              <a:ext uri="{FF2B5EF4-FFF2-40B4-BE49-F238E27FC236}">
                <a16:creationId xmlns:a16="http://schemas.microsoft.com/office/drawing/2014/main" id="{3B0A7A77-EFC5-414C-BE51-2D671D8A8F19}"/>
              </a:ext>
            </a:extLst>
          </p:cNvPr>
          <p:cNvSpPr>
            <a:spLocks noGrp="1"/>
          </p:cNvSpPr>
          <p:nvPr>
            <p:ph type="body" sz="quarter" idx="23" hasCustomPrompt="1"/>
          </p:nvPr>
        </p:nvSpPr>
        <p:spPr bwMode="gray">
          <a:xfrm>
            <a:off x="3431704" y="3933056"/>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smtClean="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dirty="0"/>
              <a:t>Contact (Please edit)</a:t>
            </a:r>
          </a:p>
        </p:txBody>
      </p:sp>
      <p:grpSp>
        <p:nvGrpSpPr>
          <p:cNvPr id="28" name="Gruppieren 27">
            <a:extLst>
              <a:ext uri="{FF2B5EF4-FFF2-40B4-BE49-F238E27FC236}">
                <a16:creationId xmlns:a16="http://schemas.microsoft.com/office/drawing/2014/main" id="{E628B10F-2358-4B73-AFD0-4610958655EC}"/>
              </a:ext>
            </a:extLst>
          </p:cNvPr>
          <p:cNvGrpSpPr/>
          <p:nvPr userDrawn="1">
            <p:custDataLst>
              <p:tags r:id="rId2"/>
            </p:custDataLst>
          </p:nvPr>
        </p:nvGrpSpPr>
        <p:grpSpPr bwMode="gray">
          <a:xfrm>
            <a:off x="7338676" y="3979600"/>
            <a:ext cx="4217517" cy="2119444"/>
            <a:chOff x="2649538" y="1697038"/>
            <a:chExt cx="6892925" cy="3463925"/>
          </a:xfrm>
        </p:grpSpPr>
        <p:sp>
          <p:nvSpPr>
            <p:cNvPr id="29" name="Freeform 17">
              <a:extLst>
                <a:ext uri="{FF2B5EF4-FFF2-40B4-BE49-F238E27FC236}">
                  <a16:creationId xmlns:a16="http://schemas.microsoft.com/office/drawing/2014/main" id="{DD65E179-F1B1-4E45-8663-184A05A9ADE2}"/>
                </a:ext>
              </a:extLst>
            </p:cNvPr>
            <p:cNvSpPr>
              <a:spLocks noEditPoints="1"/>
            </p:cNvSpPr>
            <p:nvPr>
              <p:custDataLst>
                <p:tags r:id="rId3"/>
              </p:custDataLst>
            </p:nvPr>
          </p:nvSpPr>
          <p:spPr bwMode="gray">
            <a:xfrm>
              <a:off x="2649538" y="1697038"/>
              <a:ext cx="6892925" cy="3463925"/>
            </a:xfrm>
            <a:custGeom>
              <a:avLst/>
              <a:gdLst>
                <a:gd name="T0" fmla="*/ 31 w 1835"/>
                <a:gd name="T1" fmla="*/ 747 h 921"/>
                <a:gd name="T2" fmla="*/ 384 w 1835"/>
                <a:gd name="T3" fmla="*/ 102 h 921"/>
                <a:gd name="T4" fmla="*/ 51 w 1835"/>
                <a:gd name="T5" fmla="*/ 48 h 921"/>
                <a:gd name="T6" fmla="*/ 196 w 1835"/>
                <a:gd name="T7" fmla="*/ 874 h 921"/>
                <a:gd name="T8" fmla="*/ 1645 w 1835"/>
                <a:gd name="T9" fmla="*/ 852 h 921"/>
                <a:gd name="T10" fmla="*/ 1534 w 1835"/>
                <a:gd name="T11" fmla="*/ 532 h 921"/>
                <a:gd name="T12" fmla="*/ 865 w 1835"/>
                <a:gd name="T13" fmla="*/ 836 h 921"/>
                <a:gd name="T14" fmla="*/ 306 w 1835"/>
                <a:gd name="T15" fmla="*/ 563 h 921"/>
                <a:gd name="T16" fmla="*/ 291 w 1835"/>
                <a:gd name="T17" fmla="*/ 879 h 921"/>
                <a:gd name="T18" fmla="*/ 13 w 1835"/>
                <a:gd name="T19" fmla="*/ 762 h 921"/>
                <a:gd name="T20" fmla="*/ 249 w 1835"/>
                <a:gd name="T21" fmla="*/ 17 h 921"/>
                <a:gd name="T22" fmla="*/ 624 w 1835"/>
                <a:gd name="T23" fmla="*/ 309 h 921"/>
                <a:gd name="T24" fmla="*/ 554 w 1835"/>
                <a:gd name="T25" fmla="*/ 296 h 921"/>
                <a:gd name="T26" fmla="*/ 219 w 1835"/>
                <a:gd name="T27" fmla="*/ 56 h 921"/>
                <a:gd name="T28" fmla="*/ 62 w 1835"/>
                <a:gd name="T29" fmla="*/ 761 h 921"/>
                <a:gd name="T30" fmla="*/ 243 w 1835"/>
                <a:gd name="T31" fmla="*/ 846 h 921"/>
                <a:gd name="T32" fmla="*/ 662 w 1835"/>
                <a:gd name="T33" fmla="*/ 619 h 921"/>
                <a:gd name="T34" fmla="*/ 1277 w 1835"/>
                <a:gd name="T35" fmla="*/ 546 h 921"/>
                <a:gd name="T36" fmla="*/ 1650 w 1835"/>
                <a:gd name="T37" fmla="*/ 852 h 921"/>
                <a:gd name="T38" fmla="*/ 651 w 1835"/>
                <a:gd name="T39" fmla="*/ 620 h 921"/>
                <a:gd name="T40" fmla="*/ 233 w 1835"/>
                <a:gd name="T41" fmla="*/ 860 h 921"/>
                <a:gd name="T42" fmla="*/ 58 w 1835"/>
                <a:gd name="T43" fmla="*/ 717 h 921"/>
                <a:gd name="T44" fmla="*/ 368 w 1835"/>
                <a:gd name="T45" fmla="*/ 117 h 921"/>
                <a:gd name="T46" fmla="*/ 975 w 1835"/>
                <a:gd name="T47" fmla="*/ 420 h 921"/>
                <a:gd name="T48" fmla="*/ 250 w 1835"/>
                <a:gd name="T49" fmla="*/ 21 h 921"/>
                <a:gd name="T50" fmla="*/ 39 w 1835"/>
                <a:gd name="T51" fmla="*/ 823 h 921"/>
                <a:gd name="T52" fmla="*/ 288 w 1835"/>
                <a:gd name="T53" fmla="*/ 865 h 921"/>
                <a:gd name="T54" fmla="*/ 590 w 1835"/>
                <a:gd name="T55" fmla="*/ 612 h 921"/>
                <a:gd name="T56" fmla="*/ 1301 w 1835"/>
                <a:gd name="T57" fmla="*/ 542 h 921"/>
                <a:gd name="T58" fmla="*/ 1645 w 1835"/>
                <a:gd name="T59" fmla="*/ 892 h 921"/>
                <a:gd name="T60" fmla="*/ 1531 w 1835"/>
                <a:gd name="T61" fmla="*/ 564 h 921"/>
                <a:gd name="T62" fmla="*/ 829 w 1835"/>
                <a:gd name="T63" fmla="*/ 839 h 921"/>
                <a:gd name="T64" fmla="*/ 308 w 1835"/>
                <a:gd name="T65" fmla="*/ 612 h 921"/>
                <a:gd name="T66" fmla="*/ 215 w 1835"/>
                <a:gd name="T67" fmla="*/ 921 h 921"/>
                <a:gd name="T68" fmla="*/ 1 w 1835"/>
                <a:gd name="T69" fmla="*/ 570 h 921"/>
                <a:gd name="T70" fmla="*/ 522 w 1835"/>
                <a:gd name="T71" fmla="*/ 194 h 921"/>
                <a:gd name="T72" fmla="*/ 1784 w 1835"/>
                <a:gd name="T73" fmla="*/ 48 h 921"/>
                <a:gd name="T74" fmla="*/ 853 w 1835"/>
                <a:gd name="T75" fmla="*/ 455 h 921"/>
                <a:gd name="T76" fmla="*/ 368 w 1835"/>
                <a:gd name="T77" fmla="*/ 148 h 921"/>
                <a:gd name="T78" fmla="*/ 177 w 1835"/>
                <a:gd name="T79" fmla="*/ 844 h 921"/>
                <a:gd name="T80" fmla="*/ 231 w 1835"/>
                <a:gd name="T81" fmla="*/ 838 h 921"/>
                <a:gd name="T82" fmla="*/ 502 w 1835"/>
                <a:gd name="T83" fmla="*/ 484 h 921"/>
                <a:gd name="T84" fmla="*/ 1194 w 1835"/>
                <a:gd name="T85" fmla="*/ 606 h 921"/>
                <a:gd name="T86" fmla="*/ 1605 w 1835"/>
                <a:gd name="T87" fmla="*/ 747 h 921"/>
                <a:gd name="T88" fmla="*/ 1777 w 1835"/>
                <a:gd name="T89" fmla="*/ 856 h 921"/>
                <a:gd name="T90" fmla="*/ 1811 w 1835"/>
                <a:gd name="T91" fmla="*/ 454 h 921"/>
                <a:gd name="T92" fmla="*/ 1775 w 1835"/>
                <a:gd name="T93" fmla="*/ 866 h 921"/>
                <a:gd name="T94" fmla="*/ 1601 w 1835"/>
                <a:gd name="T95" fmla="*/ 614 h 921"/>
                <a:gd name="T96" fmla="*/ 1011 w 1835"/>
                <a:gd name="T97" fmla="*/ 764 h 921"/>
                <a:gd name="T98" fmla="*/ 240 w 1835"/>
                <a:gd name="T99" fmla="*/ 575 h 921"/>
                <a:gd name="T100" fmla="*/ 204 w 1835"/>
                <a:gd name="T101" fmla="*/ 849 h 921"/>
                <a:gd name="T102" fmla="*/ 77 w 1835"/>
                <a:gd name="T103" fmla="*/ 69 h 921"/>
                <a:gd name="T104" fmla="*/ 544 w 1835"/>
                <a:gd name="T105" fmla="*/ 305 h 921"/>
                <a:gd name="T106" fmla="*/ 1489 w 1835"/>
                <a:gd name="T107" fmla="*/ 102 h 921"/>
                <a:gd name="T108" fmla="*/ 1536 w 1835"/>
                <a:gd name="T109" fmla="*/ 32 h 921"/>
                <a:gd name="T110" fmla="*/ 586 w 1835"/>
                <a:gd name="T111" fmla="*/ 264 h 921"/>
                <a:gd name="T112" fmla="*/ 221 w 1835"/>
                <a:gd name="T113" fmla="*/ 6 h 921"/>
                <a:gd name="T114" fmla="*/ 4 w 1835"/>
                <a:gd name="T115" fmla="*/ 759 h 921"/>
                <a:gd name="T116" fmla="*/ 243 w 1835"/>
                <a:gd name="T117" fmla="*/ 916 h 921"/>
                <a:gd name="T118" fmla="*/ 386 w 1835"/>
                <a:gd name="T119" fmla="*/ 526 h 921"/>
                <a:gd name="T120" fmla="*/ 1076 w 1835"/>
                <a:gd name="T121" fmla="*/ 795 h 921"/>
                <a:gd name="T122" fmla="*/ 1551 w 1835"/>
                <a:gd name="T123" fmla="*/ 607 h 921"/>
                <a:gd name="T124" fmla="*/ 1776 w 1835"/>
                <a:gd name="T125" fmla="*/ 899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35" h="921">
                  <a:moveTo>
                    <a:pt x="272" y="835"/>
                  </a:moveTo>
                  <a:cubicBezTo>
                    <a:pt x="272" y="842"/>
                    <a:pt x="272" y="850"/>
                    <a:pt x="272" y="859"/>
                  </a:cubicBezTo>
                  <a:cubicBezTo>
                    <a:pt x="272" y="863"/>
                    <a:pt x="272" y="868"/>
                    <a:pt x="270" y="872"/>
                  </a:cubicBezTo>
                  <a:cubicBezTo>
                    <a:pt x="269" y="876"/>
                    <a:pt x="265" y="880"/>
                    <a:pt x="261" y="881"/>
                  </a:cubicBezTo>
                  <a:cubicBezTo>
                    <a:pt x="253" y="885"/>
                    <a:pt x="243" y="885"/>
                    <a:pt x="233" y="886"/>
                  </a:cubicBezTo>
                  <a:cubicBezTo>
                    <a:pt x="224" y="887"/>
                    <a:pt x="215" y="887"/>
                    <a:pt x="205" y="887"/>
                  </a:cubicBezTo>
                  <a:cubicBezTo>
                    <a:pt x="200" y="888"/>
                    <a:pt x="196" y="888"/>
                    <a:pt x="191" y="888"/>
                  </a:cubicBezTo>
                  <a:cubicBezTo>
                    <a:pt x="186" y="888"/>
                    <a:pt x="181" y="888"/>
                    <a:pt x="176" y="887"/>
                  </a:cubicBezTo>
                  <a:cubicBezTo>
                    <a:pt x="156" y="886"/>
                    <a:pt x="135" y="881"/>
                    <a:pt x="115" y="871"/>
                  </a:cubicBezTo>
                  <a:cubicBezTo>
                    <a:pt x="96" y="862"/>
                    <a:pt x="77" y="849"/>
                    <a:pt x="61" y="831"/>
                  </a:cubicBezTo>
                  <a:cubicBezTo>
                    <a:pt x="53" y="822"/>
                    <a:pt x="46" y="812"/>
                    <a:pt x="41" y="801"/>
                  </a:cubicBezTo>
                  <a:cubicBezTo>
                    <a:pt x="36" y="790"/>
                    <a:pt x="32" y="778"/>
                    <a:pt x="31" y="765"/>
                  </a:cubicBezTo>
                  <a:cubicBezTo>
                    <a:pt x="31" y="762"/>
                    <a:pt x="31" y="759"/>
                    <a:pt x="31" y="756"/>
                  </a:cubicBezTo>
                  <a:cubicBezTo>
                    <a:pt x="31" y="753"/>
                    <a:pt x="31" y="750"/>
                    <a:pt x="31" y="747"/>
                  </a:cubicBezTo>
                  <a:cubicBezTo>
                    <a:pt x="31" y="741"/>
                    <a:pt x="31" y="735"/>
                    <a:pt x="30" y="729"/>
                  </a:cubicBezTo>
                  <a:cubicBezTo>
                    <a:pt x="30" y="717"/>
                    <a:pt x="30" y="705"/>
                    <a:pt x="30" y="693"/>
                  </a:cubicBezTo>
                  <a:cubicBezTo>
                    <a:pt x="30" y="594"/>
                    <a:pt x="29" y="489"/>
                    <a:pt x="29" y="381"/>
                  </a:cubicBezTo>
                  <a:cubicBezTo>
                    <a:pt x="29" y="328"/>
                    <a:pt x="29" y="274"/>
                    <a:pt x="29" y="220"/>
                  </a:cubicBezTo>
                  <a:cubicBezTo>
                    <a:pt x="30" y="165"/>
                    <a:pt x="30" y="70"/>
                    <a:pt x="30" y="57"/>
                  </a:cubicBezTo>
                  <a:cubicBezTo>
                    <a:pt x="30" y="43"/>
                    <a:pt x="37" y="27"/>
                    <a:pt x="60" y="27"/>
                  </a:cubicBezTo>
                  <a:cubicBezTo>
                    <a:pt x="82" y="27"/>
                    <a:pt x="129" y="28"/>
                    <a:pt x="163" y="28"/>
                  </a:cubicBezTo>
                  <a:cubicBezTo>
                    <a:pt x="175" y="28"/>
                    <a:pt x="188" y="28"/>
                    <a:pt x="200" y="28"/>
                  </a:cubicBezTo>
                  <a:cubicBezTo>
                    <a:pt x="206" y="28"/>
                    <a:pt x="212" y="28"/>
                    <a:pt x="218" y="28"/>
                  </a:cubicBezTo>
                  <a:cubicBezTo>
                    <a:pt x="225" y="28"/>
                    <a:pt x="231" y="28"/>
                    <a:pt x="237" y="29"/>
                  </a:cubicBezTo>
                  <a:cubicBezTo>
                    <a:pt x="262" y="31"/>
                    <a:pt x="285" y="38"/>
                    <a:pt x="306" y="47"/>
                  </a:cubicBezTo>
                  <a:cubicBezTo>
                    <a:pt x="327" y="56"/>
                    <a:pt x="346" y="68"/>
                    <a:pt x="362" y="81"/>
                  </a:cubicBezTo>
                  <a:cubicBezTo>
                    <a:pt x="366" y="85"/>
                    <a:pt x="370" y="88"/>
                    <a:pt x="373" y="92"/>
                  </a:cubicBezTo>
                  <a:cubicBezTo>
                    <a:pt x="377" y="95"/>
                    <a:pt x="381" y="99"/>
                    <a:pt x="384" y="102"/>
                  </a:cubicBezTo>
                  <a:cubicBezTo>
                    <a:pt x="391" y="109"/>
                    <a:pt x="398" y="115"/>
                    <a:pt x="405" y="122"/>
                  </a:cubicBezTo>
                  <a:cubicBezTo>
                    <a:pt x="458" y="173"/>
                    <a:pt x="499" y="213"/>
                    <a:pt x="523" y="238"/>
                  </a:cubicBezTo>
                  <a:cubicBezTo>
                    <a:pt x="531" y="245"/>
                    <a:pt x="536" y="251"/>
                    <a:pt x="539" y="255"/>
                  </a:cubicBezTo>
                  <a:cubicBezTo>
                    <a:pt x="546" y="263"/>
                    <a:pt x="545" y="263"/>
                    <a:pt x="536" y="256"/>
                  </a:cubicBezTo>
                  <a:cubicBezTo>
                    <a:pt x="531" y="252"/>
                    <a:pt x="525" y="247"/>
                    <a:pt x="516" y="240"/>
                  </a:cubicBezTo>
                  <a:cubicBezTo>
                    <a:pt x="507" y="233"/>
                    <a:pt x="458" y="189"/>
                    <a:pt x="393" y="129"/>
                  </a:cubicBezTo>
                  <a:cubicBezTo>
                    <a:pt x="383" y="119"/>
                    <a:pt x="372" y="109"/>
                    <a:pt x="361" y="99"/>
                  </a:cubicBezTo>
                  <a:cubicBezTo>
                    <a:pt x="350" y="89"/>
                    <a:pt x="339" y="81"/>
                    <a:pt x="326" y="73"/>
                  </a:cubicBezTo>
                  <a:cubicBezTo>
                    <a:pt x="302" y="59"/>
                    <a:pt x="274" y="49"/>
                    <a:pt x="245" y="45"/>
                  </a:cubicBezTo>
                  <a:cubicBezTo>
                    <a:pt x="238" y="44"/>
                    <a:pt x="230" y="44"/>
                    <a:pt x="223" y="43"/>
                  </a:cubicBezTo>
                  <a:cubicBezTo>
                    <a:pt x="216" y="43"/>
                    <a:pt x="208" y="43"/>
                    <a:pt x="200" y="43"/>
                  </a:cubicBezTo>
                  <a:cubicBezTo>
                    <a:pt x="185" y="43"/>
                    <a:pt x="170" y="43"/>
                    <a:pt x="155" y="43"/>
                  </a:cubicBezTo>
                  <a:cubicBezTo>
                    <a:pt x="125" y="44"/>
                    <a:pt x="72" y="44"/>
                    <a:pt x="67" y="44"/>
                  </a:cubicBezTo>
                  <a:cubicBezTo>
                    <a:pt x="59" y="44"/>
                    <a:pt x="54" y="45"/>
                    <a:pt x="51" y="48"/>
                  </a:cubicBezTo>
                  <a:cubicBezTo>
                    <a:pt x="46" y="53"/>
                    <a:pt x="47" y="57"/>
                    <a:pt x="47" y="64"/>
                  </a:cubicBezTo>
                  <a:cubicBezTo>
                    <a:pt x="47" y="83"/>
                    <a:pt x="47" y="185"/>
                    <a:pt x="47" y="245"/>
                  </a:cubicBezTo>
                  <a:cubicBezTo>
                    <a:pt x="48" y="306"/>
                    <a:pt x="48" y="366"/>
                    <a:pt x="48" y="426"/>
                  </a:cubicBezTo>
                  <a:cubicBezTo>
                    <a:pt x="49" y="499"/>
                    <a:pt x="49" y="579"/>
                    <a:pt x="49" y="657"/>
                  </a:cubicBezTo>
                  <a:cubicBezTo>
                    <a:pt x="49" y="676"/>
                    <a:pt x="49" y="695"/>
                    <a:pt x="48" y="714"/>
                  </a:cubicBezTo>
                  <a:cubicBezTo>
                    <a:pt x="48" y="724"/>
                    <a:pt x="48" y="733"/>
                    <a:pt x="48" y="743"/>
                  </a:cubicBezTo>
                  <a:cubicBezTo>
                    <a:pt x="48" y="747"/>
                    <a:pt x="48" y="752"/>
                    <a:pt x="48" y="757"/>
                  </a:cubicBezTo>
                  <a:cubicBezTo>
                    <a:pt x="48" y="761"/>
                    <a:pt x="48" y="765"/>
                    <a:pt x="49" y="769"/>
                  </a:cubicBezTo>
                  <a:cubicBezTo>
                    <a:pt x="51" y="785"/>
                    <a:pt x="58" y="800"/>
                    <a:pt x="67" y="813"/>
                  </a:cubicBezTo>
                  <a:cubicBezTo>
                    <a:pt x="77" y="826"/>
                    <a:pt x="88" y="836"/>
                    <a:pt x="101" y="845"/>
                  </a:cubicBezTo>
                  <a:cubicBezTo>
                    <a:pt x="114" y="855"/>
                    <a:pt x="130" y="862"/>
                    <a:pt x="146" y="868"/>
                  </a:cubicBezTo>
                  <a:cubicBezTo>
                    <a:pt x="154" y="870"/>
                    <a:pt x="162" y="872"/>
                    <a:pt x="170" y="873"/>
                  </a:cubicBezTo>
                  <a:cubicBezTo>
                    <a:pt x="175" y="874"/>
                    <a:pt x="179" y="874"/>
                    <a:pt x="183" y="874"/>
                  </a:cubicBezTo>
                  <a:cubicBezTo>
                    <a:pt x="187" y="874"/>
                    <a:pt x="192" y="874"/>
                    <a:pt x="196" y="874"/>
                  </a:cubicBezTo>
                  <a:cubicBezTo>
                    <a:pt x="213" y="874"/>
                    <a:pt x="233" y="874"/>
                    <a:pt x="245" y="873"/>
                  </a:cubicBezTo>
                  <a:cubicBezTo>
                    <a:pt x="247" y="872"/>
                    <a:pt x="249" y="872"/>
                    <a:pt x="251" y="872"/>
                  </a:cubicBezTo>
                  <a:cubicBezTo>
                    <a:pt x="252" y="871"/>
                    <a:pt x="254" y="871"/>
                    <a:pt x="256" y="870"/>
                  </a:cubicBezTo>
                  <a:cubicBezTo>
                    <a:pt x="259" y="868"/>
                    <a:pt x="260" y="864"/>
                    <a:pt x="261" y="861"/>
                  </a:cubicBezTo>
                  <a:cubicBezTo>
                    <a:pt x="261" y="857"/>
                    <a:pt x="261" y="854"/>
                    <a:pt x="261" y="850"/>
                  </a:cubicBezTo>
                  <a:cubicBezTo>
                    <a:pt x="261" y="839"/>
                    <a:pt x="261" y="839"/>
                    <a:pt x="261" y="839"/>
                  </a:cubicBezTo>
                  <a:cubicBezTo>
                    <a:pt x="261" y="808"/>
                    <a:pt x="262" y="781"/>
                    <a:pt x="262" y="757"/>
                  </a:cubicBezTo>
                  <a:cubicBezTo>
                    <a:pt x="263" y="743"/>
                    <a:pt x="263" y="729"/>
                    <a:pt x="264" y="717"/>
                  </a:cubicBezTo>
                  <a:cubicBezTo>
                    <a:pt x="265" y="704"/>
                    <a:pt x="267" y="713"/>
                    <a:pt x="269" y="740"/>
                  </a:cubicBezTo>
                  <a:cubicBezTo>
                    <a:pt x="269" y="749"/>
                    <a:pt x="270" y="761"/>
                    <a:pt x="270" y="774"/>
                  </a:cubicBezTo>
                  <a:cubicBezTo>
                    <a:pt x="271" y="786"/>
                    <a:pt x="271" y="799"/>
                    <a:pt x="271" y="813"/>
                  </a:cubicBezTo>
                  <a:cubicBezTo>
                    <a:pt x="271" y="820"/>
                    <a:pt x="272" y="827"/>
                    <a:pt x="272" y="835"/>
                  </a:cubicBezTo>
                  <a:close/>
                  <a:moveTo>
                    <a:pt x="1650" y="852"/>
                  </a:moveTo>
                  <a:cubicBezTo>
                    <a:pt x="1651" y="853"/>
                    <a:pt x="1649" y="854"/>
                    <a:pt x="1645" y="852"/>
                  </a:cubicBezTo>
                  <a:cubicBezTo>
                    <a:pt x="1641" y="851"/>
                    <a:pt x="1635" y="848"/>
                    <a:pt x="1627" y="843"/>
                  </a:cubicBezTo>
                  <a:cubicBezTo>
                    <a:pt x="1619" y="838"/>
                    <a:pt x="1610" y="831"/>
                    <a:pt x="1600" y="820"/>
                  </a:cubicBezTo>
                  <a:cubicBezTo>
                    <a:pt x="1593" y="812"/>
                    <a:pt x="1587" y="803"/>
                    <a:pt x="1581" y="792"/>
                  </a:cubicBezTo>
                  <a:cubicBezTo>
                    <a:pt x="1579" y="786"/>
                    <a:pt x="1577" y="780"/>
                    <a:pt x="1575" y="774"/>
                  </a:cubicBezTo>
                  <a:cubicBezTo>
                    <a:pt x="1574" y="770"/>
                    <a:pt x="1574" y="767"/>
                    <a:pt x="1574" y="763"/>
                  </a:cubicBezTo>
                  <a:cubicBezTo>
                    <a:pt x="1573" y="761"/>
                    <a:pt x="1573" y="759"/>
                    <a:pt x="1573" y="758"/>
                  </a:cubicBezTo>
                  <a:cubicBezTo>
                    <a:pt x="1573" y="756"/>
                    <a:pt x="1573" y="754"/>
                    <a:pt x="1573" y="752"/>
                  </a:cubicBezTo>
                  <a:cubicBezTo>
                    <a:pt x="1572" y="729"/>
                    <a:pt x="1571" y="702"/>
                    <a:pt x="1570" y="672"/>
                  </a:cubicBezTo>
                  <a:cubicBezTo>
                    <a:pt x="1570" y="657"/>
                    <a:pt x="1570" y="641"/>
                    <a:pt x="1569" y="624"/>
                  </a:cubicBezTo>
                  <a:cubicBezTo>
                    <a:pt x="1569" y="620"/>
                    <a:pt x="1569" y="616"/>
                    <a:pt x="1569" y="611"/>
                  </a:cubicBezTo>
                  <a:cubicBezTo>
                    <a:pt x="1569" y="609"/>
                    <a:pt x="1569" y="607"/>
                    <a:pt x="1569" y="605"/>
                  </a:cubicBezTo>
                  <a:cubicBezTo>
                    <a:pt x="1568" y="603"/>
                    <a:pt x="1568" y="601"/>
                    <a:pt x="1568" y="599"/>
                  </a:cubicBezTo>
                  <a:cubicBezTo>
                    <a:pt x="1567" y="591"/>
                    <a:pt x="1565" y="583"/>
                    <a:pt x="1562" y="575"/>
                  </a:cubicBezTo>
                  <a:cubicBezTo>
                    <a:pt x="1557" y="559"/>
                    <a:pt x="1547" y="544"/>
                    <a:pt x="1534" y="532"/>
                  </a:cubicBezTo>
                  <a:cubicBezTo>
                    <a:pt x="1521" y="519"/>
                    <a:pt x="1504" y="510"/>
                    <a:pt x="1485" y="506"/>
                  </a:cubicBezTo>
                  <a:cubicBezTo>
                    <a:pt x="1480" y="505"/>
                    <a:pt x="1476" y="504"/>
                    <a:pt x="1471" y="504"/>
                  </a:cubicBezTo>
                  <a:cubicBezTo>
                    <a:pt x="1466" y="503"/>
                    <a:pt x="1461" y="503"/>
                    <a:pt x="1456" y="503"/>
                  </a:cubicBezTo>
                  <a:cubicBezTo>
                    <a:pt x="1446" y="504"/>
                    <a:pt x="1435" y="505"/>
                    <a:pt x="1425" y="507"/>
                  </a:cubicBezTo>
                  <a:cubicBezTo>
                    <a:pt x="1404" y="512"/>
                    <a:pt x="1383" y="519"/>
                    <a:pt x="1363" y="530"/>
                  </a:cubicBezTo>
                  <a:cubicBezTo>
                    <a:pt x="1343" y="541"/>
                    <a:pt x="1323" y="555"/>
                    <a:pt x="1304" y="570"/>
                  </a:cubicBezTo>
                  <a:cubicBezTo>
                    <a:pt x="1284" y="585"/>
                    <a:pt x="1266" y="603"/>
                    <a:pt x="1247" y="621"/>
                  </a:cubicBezTo>
                  <a:cubicBezTo>
                    <a:pt x="1228" y="639"/>
                    <a:pt x="1208" y="658"/>
                    <a:pt x="1187" y="677"/>
                  </a:cubicBezTo>
                  <a:cubicBezTo>
                    <a:pt x="1167" y="696"/>
                    <a:pt x="1146" y="715"/>
                    <a:pt x="1125" y="735"/>
                  </a:cubicBezTo>
                  <a:cubicBezTo>
                    <a:pt x="1103" y="754"/>
                    <a:pt x="1081" y="774"/>
                    <a:pt x="1056" y="793"/>
                  </a:cubicBezTo>
                  <a:cubicBezTo>
                    <a:pt x="1044" y="802"/>
                    <a:pt x="1030" y="811"/>
                    <a:pt x="1016" y="819"/>
                  </a:cubicBezTo>
                  <a:cubicBezTo>
                    <a:pt x="1002" y="827"/>
                    <a:pt x="986" y="833"/>
                    <a:pt x="970" y="838"/>
                  </a:cubicBezTo>
                  <a:cubicBezTo>
                    <a:pt x="953" y="843"/>
                    <a:pt x="935" y="845"/>
                    <a:pt x="918" y="845"/>
                  </a:cubicBezTo>
                  <a:cubicBezTo>
                    <a:pt x="900" y="844"/>
                    <a:pt x="882" y="841"/>
                    <a:pt x="865" y="836"/>
                  </a:cubicBezTo>
                  <a:cubicBezTo>
                    <a:pt x="848" y="830"/>
                    <a:pt x="833" y="822"/>
                    <a:pt x="818" y="814"/>
                  </a:cubicBezTo>
                  <a:cubicBezTo>
                    <a:pt x="803" y="805"/>
                    <a:pt x="789" y="795"/>
                    <a:pt x="775" y="785"/>
                  </a:cubicBezTo>
                  <a:cubicBezTo>
                    <a:pt x="749" y="765"/>
                    <a:pt x="724" y="742"/>
                    <a:pt x="699" y="720"/>
                  </a:cubicBezTo>
                  <a:cubicBezTo>
                    <a:pt x="686" y="709"/>
                    <a:pt x="674" y="698"/>
                    <a:pt x="661" y="687"/>
                  </a:cubicBezTo>
                  <a:cubicBezTo>
                    <a:pt x="655" y="681"/>
                    <a:pt x="649" y="675"/>
                    <a:pt x="642" y="670"/>
                  </a:cubicBezTo>
                  <a:cubicBezTo>
                    <a:pt x="636" y="664"/>
                    <a:pt x="629" y="658"/>
                    <a:pt x="623" y="652"/>
                  </a:cubicBezTo>
                  <a:cubicBezTo>
                    <a:pt x="598" y="629"/>
                    <a:pt x="573" y="606"/>
                    <a:pt x="547" y="585"/>
                  </a:cubicBezTo>
                  <a:cubicBezTo>
                    <a:pt x="521" y="564"/>
                    <a:pt x="494" y="545"/>
                    <a:pt x="464" y="532"/>
                  </a:cubicBezTo>
                  <a:cubicBezTo>
                    <a:pt x="450" y="526"/>
                    <a:pt x="435" y="521"/>
                    <a:pt x="419" y="519"/>
                  </a:cubicBezTo>
                  <a:cubicBezTo>
                    <a:pt x="411" y="517"/>
                    <a:pt x="404" y="516"/>
                    <a:pt x="396" y="516"/>
                  </a:cubicBezTo>
                  <a:cubicBezTo>
                    <a:pt x="392" y="516"/>
                    <a:pt x="388" y="515"/>
                    <a:pt x="384" y="516"/>
                  </a:cubicBezTo>
                  <a:cubicBezTo>
                    <a:pt x="381" y="516"/>
                    <a:pt x="377" y="516"/>
                    <a:pt x="374" y="516"/>
                  </a:cubicBezTo>
                  <a:cubicBezTo>
                    <a:pt x="360" y="518"/>
                    <a:pt x="346" y="524"/>
                    <a:pt x="335" y="532"/>
                  </a:cubicBezTo>
                  <a:cubicBezTo>
                    <a:pt x="323" y="540"/>
                    <a:pt x="313" y="551"/>
                    <a:pt x="306" y="563"/>
                  </a:cubicBezTo>
                  <a:cubicBezTo>
                    <a:pt x="299" y="576"/>
                    <a:pt x="295" y="590"/>
                    <a:pt x="294" y="604"/>
                  </a:cubicBezTo>
                  <a:cubicBezTo>
                    <a:pt x="294" y="606"/>
                    <a:pt x="294" y="607"/>
                    <a:pt x="294" y="609"/>
                  </a:cubicBezTo>
                  <a:cubicBezTo>
                    <a:pt x="294" y="616"/>
                    <a:pt x="294" y="616"/>
                    <a:pt x="294" y="616"/>
                  </a:cubicBezTo>
                  <a:cubicBezTo>
                    <a:pt x="294" y="630"/>
                    <a:pt x="294" y="630"/>
                    <a:pt x="294" y="630"/>
                  </a:cubicBezTo>
                  <a:cubicBezTo>
                    <a:pt x="294" y="639"/>
                    <a:pt x="294" y="648"/>
                    <a:pt x="294" y="657"/>
                  </a:cubicBezTo>
                  <a:cubicBezTo>
                    <a:pt x="294" y="694"/>
                    <a:pt x="294" y="731"/>
                    <a:pt x="294" y="768"/>
                  </a:cubicBezTo>
                  <a:cubicBezTo>
                    <a:pt x="294" y="786"/>
                    <a:pt x="294" y="805"/>
                    <a:pt x="294" y="823"/>
                  </a:cubicBezTo>
                  <a:cubicBezTo>
                    <a:pt x="294" y="837"/>
                    <a:pt x="294" y="837"/>
                    <a:pt x="294" y="837"/>
                  </a:cubicBezTo>
                  <a:cubicBezTo>
                    <a:pt x="294" y="841"/>
                    <a:pt x="294" y="841"/>
                    <a:pt x="294" y="841"/>
                  </a:cubicBezTo>
                  <a:cubicBezTo>
                    <a:pt x="294" y="843"/>
                    <a:pt x="294" y="843"/>
                    <a:pt x="294" y="843"/>
                  </a:cubicBezTo>
                  <a:cubicBezTo>
                    <a:pt x="294" y="846"/>
                    <a:pt x="294" y="846"/>
                    <a:pt x="294" y="846"/>
                  </a:cubicBezTo>
                  <a:cubicBezTo>
                    <a:pt x="294" y="857"/>
                    <a:pt x="294" y="857"/>
                    <a:pt x="294" y="857"/>
                  </a:cubicBezTo>
                  <a:cubicBezTo>
                    <a:pt x="294" y="861"/>
                    <a:pt x="294" y="865"/>
                    <a:pt x="293" y="868"/>
                  </a:cubicBezTo>
                  <a:cubicBezTo>
                    <a:pt x="293" y="872"/>
                    <a:pt x="292" y="875"/>
                    <a:pt x="291" y="879"/>
                  </a:cubicBezTo>
                  <a:cubicBezTo>
                    <a:pt x="289" y="885"/>
                    <a:pt x="285" y="891"/>
                    <a:pt x="279" y="896"/>
                  </a:cubicBezTo>
                  <a:cubicBezTo>
                    <a:pt x="268" y="904"/>
                    <a:pt x="252" y="906"/>
                    <a:pt x="237" y="907"/>
                  </a:cubicBezTo>
                  <a:cubicBezTo>
                    <a:pt x="228" y="908"/>
                    <a:pt x="228" y="908"/>
                    <a:pt x="228" y="908"/>
                  </a:cubicBezTo>
                  <a:cubicBezTo>
                    <a:pt x="221" y="908"/>
                    <a:pt x="221" y="908"/>
                    <a:pt x="221" y="908"/>
                  </a:cubicBezTo>
                  <a:cubicBezTo>
                    <a:pt x="216" y="908"/>
                    <a:pt x="211" y="908"/>
                    <a:pt x="206" y="908"/>
                  </a:cubicBezTo>
                  <a:cubicBezTo>
                    <a:pt x="192" y="908"/>
                    <a:pt x="192" y="908"/>
                    <a:pt x="192" y="908"/>
                  </a:cubicBezTo>
                  <a:cubicBezTo>
                    <a:pt x="184" y="908"/>
                    <a:pt x="184" y="908"/>
                    <a:pt x="184" y="908"/>
                  </a:cubicBezTo>
                  <a:cubicBezTo>
                    <a:pt x="182" y="908"/>
                    <a:pt x="179" y="908"/>
                    <a:pt x="176" y="908"/>
                  </a:cubicBezTo>
                  <a:cubicBezTo>
                    <a:pt x="165" y="907"/>
                    <a:pt x="154" y="905"/>
                    <a:pt x="144" y="902"/>
                  </a:cubicBezTo>
                  <a:cubicBezTo>
                    <a:pt x="123" y="897"/>
                    <a:pt x="103" y="888"/>
                    <a:pt x="85" y="876"/>
                  </a:cubicBezTo>
                  <a:cubicBezTo>
                    <a:pt x="67" y="865"/>
                    <a:pt x="50" y="850"/>
                    <a:pt x="37" y="831"/>
                  </a:cubicBezTo>
                  <a:cubicBezTo>
                    <a:pt x="31" y="822"/>
                    <a:pt x="25" y="812"/>
                    <a:pt x="21" y="801"/>
                  </a:cubicBezTo>
                  <a:cubicBezTo>
                    <a:pt x="17" y="790"/>
                    <a:pt x="14" y="778"/>
                    <a:pt x="13" y="766"/>
                  </a:cubicBezTo>
                  <a:cubicBezTo>
                    <a:pt x="13" y="762"/>
                    <a:pt x="13" y="762"/>
                    <a:pt x="13" y="762"/>
                  </a:cubicBezTo>
                  <a:cubicBezTo>
                    <a:pt x="13" y="757"/>
                    <a:pt x="13" y="757"/>
                    <a:pt x="13" y="757"/>
                  </a:cubicBezTo>
                  <a:cubicBezTo>
                    <a:pt x="13" y="750"/>
                    <a:pt x="13" y="750"/>
                    <a:pt x="13" y="750"/>
                  </a:cubicBezTo>
                  <a:cubicBezTo>
                    <a:pt x="13" y="736"/>
                    <a:pt x="13" y="736"/>
                    <a:pt x="13" y="736"/>
                  </a:cubicBezTo>
                  <a:cubicBezTo>
                    <a:pt x="13" y="708"/>
                    <a:pt x="13" y="708"/>
                    <a:pt x="13" y="708"/>
                  </a:cubicBezTo>
                  <a:cubicBezTo>
                    <a:pt x="13" y="557"/>
                    <a:pt x="14" y="405"/>
                    <a:pt x="15" y="256"/>
                  </a:cubicBezTo>
                  <a:cubicBezTo>
                    <a:pt x="15" y="186"/>
                    <a:pt x="16" y="76"/>
                    <a:pt x="16" y="51"/>
                  </a:cubicBezTo>
                  <a:cubicBezTo>
                    <a:pt x="16" y="46"/>
                    <a:pt x="17" y="41"/>
                    <a:pt x="17" y="37"/>
                  </a:cubicBezTo>
                  <a:cubicBezTo>
                    <a:pt x="20" y="27"/>
                    <a:pt x="28" y="13"/>
                    <a:pt x="54" y="13"/>
                  </a:cubicBezTo>
                  <a:cubicBezTo>
                    <a:pt x="60" y="13"/>
                    <a:pt x="66" y="13"/>
                    <a:pt x="73" y="13"/>
                  </a:cubicBezTo>
                  <a:cubicBezTo>
                    <a:pt x="101" y="13"/>
                    <a:pt x="140" y="14"/>
                    <a:pt x="170" y="14"/>
                  </a:cubicBezTo>
                  <a:cubicBezTo>
                    <a:pt x="188" y="14"/>
                    <a:pt x="205" y="14"/>
                    <a:pt x="222" y="14"/>
                  </a:cubicBezTo>
                  <a:cubicBezTo>
                    <a:pt x="224" y="14"/>
                    <a:pt x="226" y="14"/>
                    <a:pt x="229" y="14"/>
                  </a:cubicBezTo>
                  <a:cubicBezTo>
                    <a:pt x="231" y="15"/>
                    <a:pt x="233" y="15"/>
                    <a:pt x="236" y="15"/>
                  </a:cubicBezTo>
                  <a:cubicBezTo>
                    <a:pt x="240" y="15"/>
                    <a:pt x="245" y="16"/>
                    <a:pt x="249" y="17"/>
                  </a:cubicBezTo>
                  <a:cubicBezTo>
                    <a:pt x="258" y="18"/>
                    <a:pt x="267" y="20"/>
                    <a:pt x="276" y="22"/>
                  </a:cubicBezTo>
                  <a:cubicBezTo>
                    <a:pt x="311" y="31"/>
                    <a:pt x="343" y="48"/>
                    <a:pt x="370" y="70"/>
                  </a:cubicBezTo>
                  <a:cubicBezTo>
                    <a:pt x="373" y="72"/>
                    <a:pt x="376" y="75"/>
                    <a:pt x="379" y="78"/>
                  </a:cubicBezTo>
                  <a:cubicBezTo>
                    <a:pt x="384" y="83"/>
                    <a:pt x="384" y="83"/>
                    <a:pt x="384" y="83"/>
                  </a:cubicBezTo>
                  <a:cubicBezTo>
                    <a:pt x="388" y="87"/>
                    <a:pt x="388" y="87"/>
                    <a:pt x="388" y="87"/>
                  </a:cubicBezTo>
                  <a:cubicBezTo>
                    <a:pt x="394" y="92"/>
                    <a:pt x="400" y="97"/>
                    <a:pt x="405" y="103"/>
                  </a:cubicBezTo>
                  <a:cubicBezTo>
                    <a:pt x="417" y="114"/>
                    <a:pt x="428" y="124"/>
                    <a:pt x="439" y="135"/>
                  </a:cubicBezTo>
                  <a:cubicBezTo>
                    <a:pt x="461" y="156"/>
                    <a:pt x="482" y="177"/>
                    <a:pt x="503" y="197"/>
                  </a:cubicBezTo>
                  <a:cubicBezTo>
                    <a:pt x="524" y="217"/>
                    <a:pt x="545" y="237"/>
                    <a:pt x="565" y="256"/>
                  </a:cubicBezTo>
                  <a:cubicBezTo>
                    <a:pt x="567" y="258"/>
                    <a:pt x="570" y="261"/>
                    <a:pt x="572" y="263"/>
                  </a:cubicBezTo>
                  <a:cubicBezTo>
                    <a:pt x="576" y="267"/>
                    <a:pt x="576" y="267"/>
                    <a:pt x="576" y="267"/>
                  </a:cubicBezTo>
                  <a:cubicBezTo>
                    <a:pt x="578" y="268"/>
                    <a:pt x="579" y="269"/>
                    <a:pt x="580" y="270"/>
                  </a:cubicBezTo>
                  <a:cubicBezTo>
                    <a:pt x="585" y="275"/>
                    <a:pt x="589" y="280"/>
                    <a:pt x="594" y="284"/>
                  </a:cubicBezTo>
                  <a:cubicBezTo>
                    <a:pt x="604" y="293"/>
                    <a:pt x="614" y="301"/>
                    <a:pt x="624" y="309"/>
                  </a:cubicBezTo>
                  <a:cubicBezTo>
                    <a:pt x="664" y="340"/>
                    <a:pt x="707" y="363"/>
                    <a:pt x="749" y="379"/>
                  </a:cubicBezTo>
                  <a:cubicBezTo>
                    <a:pt x="791" y="395"/>
                    <a:pt x="833" y="404"/>
                    <a:pt x="872" y="409"/>
                  </a:cubicBezTo>
                  <a:cubicBezTo>
                    <a:pt x="911" y="413"/>
                    <a:pt x="948" y="413"/>
                    <a:pt x="980" y="410"/>
                  </a:cubicBezTo>
                  <a:cubicBezTo>
                    <a:pt x="1046" y="405"/>
                    <a:pt x="1097" y="389"/>
                    <a:pt x="1133" y="375"/>
                  </a:cubicBezTo>
                  <a:cubicBezTo>
                    <a:pt x="1156" y="366"/>
                    <a:pt x="1173" y="358"/>
                    <a:pt x="1183" y="353"/>
                  </a:cubicBezTo>
                  <a:cubicBezTo>
                    <a:pt x="1194" y="348"/>
                    <a:pt x="1199" y="347"/>
                    <a:pt x="1199" y="348"/>
                  </a:cubicBezTo>
                  <a:cubicBezTo>
                    <a:pt x="1199" y="350"/>
                    <a:pt x="1193" y="355"/>
                    <a:pt x="1183" y="362"/>
                  </a:cubicBezTo>
                  <a:cubicBezTo>
                    <a:pt x="1172" y="370"/>
                    <a:pt x="1155" y="380"/>
                    <a:pt x="1131" y="392"/>
                  </a:cubicBezTo>
                  <a:cubicBezTo>
                    <a:pt x="1125" y="395"/>
                    <a:pt x="1112" y="402"/>
                    <a:pt x="1092" y="409"/>
                  </a:cubicBezTo>
                  <a:cubicBezTo>
                    <a:pt x="1071" y="417"/>
                    <a:pt x="1043" y="426"/>
                    <a:pt x="1008" y="432"/>
                  </a:cubicBezTo>
                  <a:cubicBezTo>
                    <a:pt x="973" y="438"/>
                    <a:pt x="931" y="442"/>
                    <a:pt x="883" y="439"/>
                  </a:cubicBezTo>
                  <a:cubicBezTo>
                    <a:pt x="836" y="436"/>
                    <a:pt x="783" y="427"/>
                    <a:pt x="729" y="407"/>
                  </a:cubicBezTo>
                  <a:cubicBezTo>
                    <a:pt x="669" y="385"/>
                    <a:pt x="612" y="350"/>
                    <a:pt x="563" y="305"/>
                  </a:cubicBezTo>
                  <a:cubicBezTo>
                    <a:pt x="560" y="302"/>
                    <a:pt x="557" y="299"/>
                    <a:pt x="554" y="296"/>
                  </a:cubicBezTo>
                  <a:cubicBezTo>
                    <a:pt x="552" y="294"/>
                    <a:pt x="552" y="294"/>
                    <a:pt x="552" y="294"/>
                  </a:cubicBezTo>
                  <a:cubicBezTo>
                    <a:pt x="550" y="292"/>
                    <a:pt x="550" y="292"/>
                    <a:pt x="550" y="292"/>
                  </a:cubicBezTo>
                  <a:cubicBezTo>
                    <a:pt x="545" y="288"/>
                    <a:pt x="545" y="288"/>
                    <a:pt x="545" y="288"/>
                  </a:cubicBezTo>
                  <a:cubicBezTo>
                    <a:pt x="539" y="283"/>
                    <a:pt x="534" y="277"/>
                    <a:pt x="528" y="272"/>
                  </a:cubicBezTo>
                  <a:cubicBezTo>
                    <a:pt x="516" y="260"/>
                    <a:pt x="504" y="249"/>
                    <a:pt x="492" y="238"/>
                  </a:cubicBezTo>
                  <a:cubicBezTo>
                    <a:pt x="468" y="216"/>
                    <a:pt x="444" y="193"/>
                    <a:pt x="419" y="171"/>
                  </a:cubicBezTo>
                  <a:cubicBezTo>
                    <a:pt x="407" y="159"/>
                    <a:pt x="395" y="148"/>
                    <a:pt x="383" y="136"/>
                  </a:cubicBezTo>
                  <a:cubicBezTo>
                    <a:pt x="377" y="131"/>
                    <a:pt x="370" y="125"/>
                    <a:pt x="364" y="119"/>
                  </a:cubicBezTo>
                  <a:cubicBezTo>
                    <a:pt x="355" y="111"/>
                    <a:pt x="355" y="111"/>
                    <a:pt x="355" y="111"/>
                  </a:cubicBezTo>
                  <a:cubicBezTo>
                    <a:pt x="353" y="109"/>
                    <a:pt x="353" y="109"/>
                    <a:pt x="353" y="109"/>
                  </a:cubicBezTo>
                  <a:cubicBezTo>
                    <a:pt x="351" y="107"/>
                    <a:pt x="351" y="107"/>
                    <a:pt x="351" y="107"/>
                  </a:cubicBezTo>
                  <a:cubicBezTo>
                    <a:pt x="346" y="103"/>
                    <a:pt x="346" y="103"/>
                    <a:pt x="346" y="103"/>
                  </a:cubicBezTo>
                  <a:cubicBezTo>
                    <a:pt x="323" y="84"/>
                    <a:pt x="295" y="69"/>
                    <a:pt x="265" y="62"/>
                  </a:cubicBezTo>
                  <a:cubicBezTo>
                    <a:pt x="250" y="58"/>
                    <a:pt x="234" y="56"/>
                    <a:pt x="219" y="56"/>
                  </a:cubicBezTo>
                  <a:cubicBezTo>
                    <a:pt x="201" y="56"/>
                    <a:pt x="184" y="57"/>
                    <a:pt x="167" y="57"/>
                  </a:cubicBezTo>
                  <a:cubicBezTo>
                    <a:pt x="135" y="57"/>
                    <a:pt x="80" y="57"/>
                    <a:pt x="72" y="57"/>
                  </a:cubicBezTo>
                  <a:cubicBezTo>
                    <a:pt x="69" y="57"/>
                    <a:pt x="67" y="57"/>
                    <a:pt x="66" y="58"/>
                  </a:cubicBezTo>
                  <a:cubicBezTo>
                    <a:pt x="65" y="58"/>
                    <a:pt x="65" y="58"/>
                    <a:pt x="65" y="59"/>
                  </a:cubicBezTo>
                  <a:cubicBezTo>
                    <a:pt x="64" y="59"/>
                    <a:pt x="63" y="60"/>
                    <a:pt x="62" y="61"/>
                  </a:cubicBezTo>
                  <a:cubicBezTo>
                    <a:pt x="62" y="61"/>
                    <a:pt x="62" y="62"/>
                    <a:pt x="61" y="63"/>
                  </a:cubicBezTo>
                  <a:cubicBezTo>
                    <a:pt x="61" y="63"/>
                    <a:pt x="61" y="64"/>
                    <a:pt x="61" y="64"/>
                  </a:cubicBezTo>
                  <a:cubicBezTo>
                    <a:pt x="60" y="66"/>
                    <a:pt x="60" y="68"/>
                    <a:pt x="60" y="69"/>
                  </a:cubicBezTo>
                  <a:cubicBezTo>
                    <a:pt x="60" y="78"/>
                    <a:pt x="61" y="479"/>
                    <a:pt x="62" y="685"/>
                  </a:cubicBezTo>
                  <a:cubicBezTo>
                    <a:pt x="62" y="698"/>
                    <a:pt x="62" y="711"/>
                    <a:pt x="62" y="724"/>
                  </a:cubicBezTo>
                  <a:cubicBezTo>
                    <a:pt x="62" y="743"/>
                    <a:pt x="62" y="743"/>
                    <a:pt x="62" y="743"/>
                  </a:cubicBezTo>
                  <a:cubicBezTo>
                    <a:pt x="62" y="753"/>
                    <a:pt x="62" y="753"/>
                    <a:pt x="62" y="753"/>
                  </a:cubicBezTo>
                  <a:cubicBezTo>
                    <a:pt x="62" y="758"/>
                    <a:pt x="62" y="758"/>
                    <a:pt x="62" y="758"/>
                  </a:cubicBezTo>
                  <a:cubicBezTo>
                    <a:pt x="62" y="759"/>
                    <a:pt x="62" y="760"/>
                    <a:pt x="62" y="761"/>
                  </a:cubicBezTo>
                  <a:cubicBezTo>
                    <a:pt x="63" y="780"/>
                    <a:pt x="73" y="799"/>
                    <a:pt x="88" y="815"/>
                  </a:cubicBezTo>
                  <a:cubicBezTo>
                    <a:pt x="103" y="830"/>
                    <a:pt x="123" y="842"/>
                    <a:pt x="144" y="850"/>
                  </a:cubicBezTo>
                  <a:cubicBezTo>
                    <a:pt x="154" y="853"/>
                    <a:pt x="165" y="856"/>
                    <a:pt x="176" y="857"/>
                  </a:cubicBezTo>
                  <a:cubicBezTo>
                    <a:pt x="178" y="857"/>
                    <a:pt x="181" y="857"/>
                    <a:pt x="183" y="858"/>
                  </a:cubicBezTo>
                  <a:cubicBezTo>
                    <a:pt x="185" y="858"/>
                    <a:pt x="186" y="858"/>
                    <a:pt x="187" y="858"/>
                  </a:cubicBezTo>
                  <a:cubicBezTo>
                    <a:pt x="192" y="858"/>
                    <a:pt x="192" y="858"/>
                    <a:pt x="192" y="858"/>
                  </a:cubicBezTo>
                  <a:cubicBezTo>
                    <a:pt x="199" y="858"/>
                    <a:pt x="205" y="857"/>
                    <a:pt x="211" y="857"/>
                  </a:cubicBezTo>
                  <a:cubicBezTo>
                    <a:pt x="217" y="857"/>
                    <a:pt x="223" y="857"/>
                    <a:pt x="229" y="857"/>
                  </a:cubicBezTo>
                  <a:cubicBezTo>
                    <a:pt x="232" y="856"/>
                    <a:pt x="232" y="856"/>
                    <a:pt x="232" y="856"/>
                  </a:cubicBezTo>
                  <a:cubicBezTo>
                    <a:pt x="233" y="856"/>
                    <a:pt x="233" y="856"/>
                    <a:pt x="233" y="856"/>
                  </a:cubicBezTo>
                  <a:cubicBezTo>
                    <a:pt x="234" y="856"/>
                    <a:pt x="236" y="856"/>
                    <a:pt x="237" y="856"/>
                  </a:cubicBezTo>
                  <a:cubicBezTo>
                    <a:pt x="238" y="856"/>
                    <a:pt x="239" y="855"/>
                    <a:pt x="240" y="855"/>
                  </a:cubicBezTo>
                  <a:cubicBezTo>
                    <a:pt x="241" y="855"/>
                    <a:pt x="242" y="854"/>
                    <a:pt x="242" y="853"/>
                  </a:cubicBezTo>
                  <a:cubicBezTo>
                    <a:pt x="243" y="851"/>
                    <a:pt x="243" y="848"/>
                    <a:pt x="243" y="846"/>
                  </a:cubicBezTo>
                  <a:cubicBezTo>
                    <a:pt x="243" y="823"/>
                    <a:pt x="243" y="800"/>
                    <a:pt x="243" y="777"/>
                  </a:cubicBezTo>
                  <a:cubicBezTo>
                    <a:pt x="242" y="726"/>
                    <a:pt x="242" y="676"/>
                    <a:pt x="242" y="626"/>
                  </a:cubicBezTo>
                  <a:cubicBezTo>
                    <a:pt x="242" y="619"/>
                    <a:pt x="242" y="613"/>
                    <a:pt x="242" y="606"/>
                  </a:cubicBezTo>
                  <a:cubicBezTo>
                    <a:pt x="242" y="598"/>
                    <a:pt x="243" y="591"/>
                    <a:pt x="244" y="583"/>
                  </a:cubicBezTo>
                  <a:cubicBezTo>
                    <a:pt x="247" y="568"/>
                    <a:pt x="252" y="553"/>
                    <a:pt x="260" y="539"/>
                  </a:cubicBezTo>
                  <a:cubicBezTo>
                    <a:pt x="275" y="511"/>
                    <a:pt x="299" y="488"/>
                    <a:pt x="328" y="475"/>
                  </a:cubicBezTo>
                  <a:cubicBezTo>
                    <a:pt x="343" y="469"/>
                    <a:pt x="359" y="465"/>
                    <a:pt x="375" y="463"/>
                  </a:cubicBezTo>
                  <a:cubicBezTo>
                    <a:pt x="379" y="463"/>
                    <a:pt x="383" y="463"/>
                    <a:pt x="387" y="463"/>
                  </a:cubicBezTo>
                  <a:cubicBezTo>
                    <a:pt x="391" y="463"/>
                    <a:pt x="394" y="463"/>
                    <a:pt x="398" y="463"/>
                  </a:cubicBezTo>
                  <a:cubicBezTo>
                    <a:pt x="405" y="464"/>
                    <a:pt x="413" y="464"/>
                    <a:pt x="420" y="466"/>
                  </a:cubicBezTo>
                  <a:cubicBezTo>
                    <a:pt x="449" y="470"/>
                    <a:pt x="478" y="480"/>
                    <a:pt x="503" y="493"/>
                  </a:cubicBezTo>
                  <a:cubicBezTo>
                    <a:pt x="529" y="506"/>
                    <a:pt x="552" y="522"/>
                    <a:pt x="573" y="539"/>
                  </a:cubicBezTo>
                  <a:cubicBezTo>
                    <a:pt x="595" y="556"/>
                    <a:pt x="615" y="575"/>
                    <a:pt x="634" y="593"/>
                  </a:cubicBezTo>
                  <a:cubicBezTo>
                    <a:pt x="643" y="602"/>
                    <a:pt x="653" y="610"/>
                    <a:pt x="662" y="619"/>
                  </a:cubicBezTo>
                  <a:cubicBezTo>
                    <a:pt x="676" y="632"/>
                    <a:pt x="676" y="632"/>
                    <a:pt x="676" y="632"/>
                  </a:cubicBezTo>
                  <a:cubicBezTo>
                    <a:pt x="681" y="637"/>
                    <a:pt x="686" y="641"/>
                    <a:pt x="691" y="645"/>
                  </a:cubicBezTo>
                  <a:cubicBezTo>
                    <a:pt x="710" y="663"/>
                    <a:pt x="729" y="680"/>
                    <a:pt x="748" y="698"/>
                  </a:cubicBezTo>
                  <a:cubicBezTo>
                    <a:pt x="767" y="715"/>
                    <a:pt x="785" y="731"/>
                    <a:pt x="804" y="746"/>
                  </a:cubicBezTo>
                  <a:cubicBezTo>
                    <a:pt x="823" y="761"/>
                    <a:pt x="842" y="774"/>
                    <a:pt x="862" y="783"/>
                  </a:cubicBezTo>
                  <a:cubicBezTo>
                    <a:pt x="882" y="793"/>
                    <a:pt x="902" y="798"/>
                    <a:pt x="922" y="799"/>
                  </a:cubicBezTo>
                  <a:cubicBezTo>
                    <a:pt x="942" y="799"/>
                    <a:pt x="962" y="795"/>
                    <a:pt x="981" y="786"/>
                  </a:cubicBezTo>
                  <a:cubicBezTo>
                    <a:pt x="1000" y="778"/>
                    <a:pt x="1018" y="767"/>
                    <a:pt x="1035" y="754"/>
                  </a:cubicBezTo>
                  <a:cubicBezTo>
                    <a:pt x="1053" y="742"/>
                    <a:pt x="1069" y="728"/>
                    <a:pt x="1085" y="714"/>
                  </a:cubicBezTo>
                  <a:cubicBezTo>
                    <a:pt x="1101" y="700"/>
                    <a:pt x="1117" y="686"/>
                    <a:pt x="1133" y="672"/>
                  </a:cubicBezTo>
                  <a:cubicBezTo>
                    <a:pt x="1140" y="666"/>
                    <a:pt x="1148" y="659"/>
                    <a:pt x="1156" y="652"/>
                  </a:cubicBezTo>
                  <a:cubicBezTo>
                    <a:pt x="1159" y="649"/>
                    <a:pt x="1163" y="646"/>
                    <a:pt x="1167" y="642"/>
                  </a:cubicBezTo>
                  <a:cubicBezTo>
                    <a:pt x="1171" y="639"/>
                    <a:pt x="1174" y="636"/>
                    <a:pt x="1178" y="633"/>
                  </a:cubicBezTo>
                  <a:cubicBezTo>
                    <a:pt x="1210" y="604"/>
                    <a:pt x="1242" y="573"/>
                    <a:pt x="1277" y="546"/>
                  </a:cubicBezTo>
                  <a:cubicBezTo>
                    <a:pt x="1295" y="532"/>
                    <a:pt x="1313" y="519"/>
                    <a:pt x="1333" y="508"/>
                  </a:cubicBezTo>
                  <a:cubicBezTo>
                    <a:pt x="1352" y="497"/>
                    <a:pt x="1373" y="488"/>
                    <a:pt x="1395" y="481"/>
                  </a:cubicBezTo>
                  <a:cubicBezTo>
                    <a:pt x="1417" y="475"/>
                    <a:pt x="1440" y="472"/>
                    <a:pt x="1463" y="472"/>
                  </a:cubicBezTo>
                  <a:cubicBezTo>
                    <a:pt x="1487" y="473"/>
                    <a:pt x="1511" y="481"/>
                    <a:pt x="1531" y="493"/>
                  </a:cubicBezTo>
                  <a:cubicBezTo>
                    <a:pt x="1551" y="506"/>
                    <a:pt x="1567" y="524"/>
                    <a:pt x="1578" y="544"/>
                  </a:cubicBezTo>
                  <a:cubicBezTo>
                    <a:pt x="1589" y="564"/>
                    <a:pt x="1594" y="587"/>
                    <a:pt x="1594" y="610"/>
                  </a:cubicBezTo>
                  <a:cubicBezTo>
                    <a:pt x="1593" y="644"/>
                    <a:pt x="1593" y="676"/>
                    <a:pt x="1592" y="706"/>
                  </a:cubicBezTo>
                  <a:cubicBezTo>
                    <a:pt x="1592" y="721"/>
                    <a:pt x="1592" y="735"/>
                    <a:pt x="1592" y="749"/>
                  </a:cubicBezTo>
                  <a:cubicBezTo>
                    <a:pt x="1592" y="752"/>
                    <a:pt x="1592" y="756"/>
                    <a:pt x="1591" y="759"/>
                  </a:cubicBezTo>
                  <a:cubicBezTo>
                    <a:pt x="1591" y="762"/>
                    <a:pt x="1592" y="764"/>
                    <a:pt x="1592" y="767"/>
                  </a:cubicBezTo>
                  <a:cubicBezTo>
                    <a:pt x="1592" y="773"/>
                    <a:pt x="1594" y="778"/>
                    <a:pt x="1595" y="783"/>
                  </a:cubicBezTo>
                  <a:cubicBezTo>
                    <a:pt x="1599" y="796"/>
                    <a:pt x="1606" y="808"/>
                    <a:pt x="1614" y="818"/>
                  </a:cubicBezTo>
                  <a:cubicBezTo>
                    <a:pt x="1623" y="828"/>
                    <a:pt x="1632" y="837"/>
                    <a:pt x="1642" y="844"/>
                  </a:cubicBezTo>
                  <a:cubicBezTo>
                    <a:pt x="1647" y="848"/>
                    <a:pt x="1649" y="851"/>
                    <a:pt x="1650" y="852"/>
                  </a:cubicBezTo>
                  <a:close/>
                  <a:moveTo>
                    <a:pt x="1301" y="542"/>
                  </a:moveTo>
                  <a:cubicBezTo>
                    <a:pt x="1281" y="555"/>
                    <a:pt x="1263" y="569"/>
                    <a:pt x="1239" y="590"/>
                  </a:cubicBezTo>
                  <a:cubicBezTo>
                    <a:pt x="1224" y="603"/>
                    <a:pt x="1205" y="620"/>
                    <a:pt x="1185" y="638"/>
                  </a:cubicBezTo>
                  <a:cubicBezTo>
                    <a:pt x="1180" y="642"/>
                    <a:pt x="1175" y="647"/>
                    <a:pt x="1170" y="651"/>
                  </a:cubicBezTo>
                  <a:cubicBezTo>
                    <a:pt x="1165" y="656"/>
                    <a:pt x="1159" y="661"/>
                    <a:pt x="1154" y="665"/>
                  </a:cubicBezTo>
                  <a:cubicBezTo>
                    <a:pt x="1143" y="675"/>
                    <a:pt x="1131" y="685"/>
                    <a:pt x="1120" y="695"/>
                  </a:cubicBezTo>
                  <a:cubicBezTo>
                    <a:pt x="1094" y="718"/>
                    <a:pt x="1068" y="742"/>
                    <a:pt x="1040" y="762"/>
                  </a:cubicBezTo>
                  <a:cubicBezTo>
                    <a:pt x="1012" y="782"/>
                    <a:pt x="982" y="799"/>
                    <a:pt x="950" y="805"/>
                  </a:cubicBezTo>
                  <a:cubicBezTo>
                    <a:pt x="934" y="809"/>
                    <a:pt x="918" y="809"/>
                    <a:pt x="902" y="806"/>
                  </a:cubicBezTo>
                  <a:cubicBezTo>
                    <a:pt x="886" y="803"/>
                    <a:pt x="870" y="797"/>
                    <a:pt x="854" y="790"/>
                  </a:cubicBezTo>
                  <a:cubicBezTo>
                    <a:pt x="824" y="774"/>
                    <a:pt x="796" y="752"/>
                    <a:pt x="770" y="729"/>
                  </a:cubicBezTo>
                  <a:cubicBezTo>
                    <a:pt x="745" y="707"/>
                    <a:pt x="719" y="682"/>
                    <a:pt x="692" y="657"/>
                  </a:cubicBezTo>
                  <a:cubicBezTo>
                    <a:pt x="685" y="651"/>
                    <a:pt x="678" y="645"/>
                    <a:pt x="671" y="639"/>
                  </a:cubicBezTo>
                  <a:cubicBezTo>
                    <a:pt x="665" y="632"/>
                    <a:pt x="658" y="626"/>
                    <a:pt x="651" y="620"/>
                  </a:cubicBezTo>
                  <a:cubicBezTo>
                    <a:pt x="637" y="607"/>
                    <a:pt x="624" y="593"/>
                    <a:pt x="609" y="580"/>
                  </a:cubicBezTo>
                  <a:cubicBezTo>
                    <a:pt x="580" y="554"/>
                    <a:pt x="549" y="527"/>
                    <a:pt x="512" y="506"/>
                  </a:cubicBezTo>
                  <a:cubicBezTo>
                    <a:pt x="494" y="495"/>
                    <a:pt x="474" y="486"/>
                    <a:pt x="453" y="479"/>
                  </a:cubicBezTo>
                  <a:cubicBezTo>
                    <a:pt x="432" y="473"/>
                    <a:pt x="409" y="469"/>
                    <a:pt x="387" y="469"/>
                  </a:cubicBezTo>
                  <a:cubicBezTo>
                    <a:pt x="362" y="469"/>
                    <a:pt x="338" y="475"/>
                    <a:pt x="316" y="488"/>
                  </a:cubicBezTo>
                  <a:cubicBezTo>
                    <a:pt x="295" y="500"/>
                    <a:pt x="278" y="518"/>
                    <a:pt x="265" y="539"/>
                  </a:cubicBezTo>
                  <a:cubicBezTo>
                    <a:pt x="253" y="560"/>
                    <a:pt x="246" y="585"/>
                    <a:pt x="246" y="610"/>
                  </a:cubicBezTo>
                  <a:cubicBezTo>
                    <a:pt x="246" y="630"/>
                    <a:pt x="246" y="651"/>
                    <a:pt x="246" y="672"/>
                  </a:cubicBezTo>
                  <a:cubicBezTo>
                    <a:pt x="246" y="713"/>
                    <a:pt x="247" y="755"/>
                    <a:pt x="247" y="796"/>
                  </a:cubicBezTo>
                  <a:cubicBezTo>
                    <a:pt x="247" y="814"/>
                    <a:pt x="247" y="831"/>
                    <a:pt x="247" y="849"/>
                  </a:cubicBezTo>
                  <a:cubicBezTo>
                    <a:pt x="247" y="851"/>
                    <a:pt x="247" y="854"/>
                    <a:pt x="246" y="856"/>
                  </a:cubicBezTo>
                  <a:cubicBezTo>
                    <a:pt x="245" y="857"/>
                    <a:pt x="244" y="858"/>
                    <a:pt x="243" y="858"/>
                  </a:cubicBezTo>
                  <a:cubicBezTo>
                    <a:pt x="242" y="859"/>
                    <a:pt x="241" y="859"/>
                    <a:pt x="240" y="859"/>
                  </a:cubicBezTo>
                  <a:cubicBezTo>
                    <a:pt x="238" y="860"/>
                    <a:pt x="236" y="860"/>
                    <a:pt x="233" y="860"/>
                  </a:cubicBezTo>
                  <a:cubicBezTo>
                    <a:pt x="230" y="860"/>
                    <a:pt x="230" y="860"/>
                    <a:pt x="230" y="860"/>
                  </a:cubicBezTo>
                  <a:cubicBezTo>
                    <a:pt x="223" y="861"/>
                    <a:pt x="223" y="861"/>
                    <a:pt x="223" y="861"/>
                  </a:cubicBezTo>
                  <a:cubicBezTo>
                    <a:pt x="213" y="861"/>
                    <a:pt x="204" y="861"/>
                    <a:pt x="195" y="861"/>
                  </a:cubicBezTo>
                  <a:cubicBezTo>
                    <a:pt x="188" y="861"/>
                    <a:pt x="188" y="861"/>
                    <a:pt x="188" y="861"/>
                  </a:cubicBezTo>
                  <a:cubicBezTo>
                    <a:pt x="185" y="861"/>
                    <a:pt x="184" y="861"/>
                    <a:pt x="181" y="861"/>
                  </a:cubicBezTo>
                  <a:cubicBezTo>
                    <a:pt x="177" y="861"/>
                    <a:pt x="173" y="861"/>
                    <a:pt x="169" y="860"/>
                  </a:cubicBezTo>
                  <a:cubicBezTo>
                    <a:pt x="153" y="858"/>
                    <a:pt x="137" y="852"/>
                    <a:pt x="121" y="844"/>
                  </a:cubicBezTo>
                  <a:cubicBezTo>
                    <a:pt x="106" y="836"/>
                    <a:pt x="93" y="826"/>
                    <a:pt x="81" y="813"/>
                  </a:cubicBezTo>
                  <a:cubicBezTo>
                    <a:pt x="70" y="801"/>
                    <a:pt x="62" y="787"/>
                    <a:pt x="59" y="771"/>
                  </a:cubicBezTo>
                  <a:cubicBezTo>
                    <a:pt x="59" y="768"/>
                    <a:pt x="58" y="764"/>
                    <a:pt x="58" y="760"/>
                  </a:cubicBezTo>
                  <a:cubicBezTo>
                    <a:pt x="58" y="757"/>
                    <a:pt x="58" y="757"/>
                    <a:pt x="58" y="757"/>
                  </a:cubicBezTo>
                  <a:cubicBezTo>
                    <a:pt x="58" y="753"/>
                    <a:pt x="58" y="753"/>
                    <a:pt x="58" y="753"/>
                  </a:cubicBezTo>
                  <a:cubicBezTo>
                    <a:pt x="58" y="746"/>
                    <a:pt x="58" y="746"/>
                    <a:pt x="58" y="746"/>
                  </a:cubicBezTo>
                  <a:cubicBezTo>
                    <a:pt x="58" y="736"/>
                    <a:pt x="58" y="726"/>
                    <a:pt x="58" y="717"/>
                  </a:cubicBezTo>
                  <a:cubicBezTo>
                    <a:pt x="58" y="697"/>
                    <a:pt x="58" y="677"/>
                    <a:pt x="57" y="657"/>
                  </a:cubicBezTo>
                  <a:cubicBezTo>
                    <a:pt x="57" y="618"/>
                    <a:pt x="57" y="578"/>
                    <a:pt x="57" y="538"/>
                  </a:cubicBezTo>
                  <a:cubicBezTo>
                    <a:pt x="57" y="400"/>
                    <a:pt x="56" y="143"/>
                    <a:pt x="55" y="81"/>
                  </a:cubicBezTo>
                  <a:cubicBezTo>
                    <a:pt x="55" y="72"/>
                    <a:pt x="56" y="68"/>
                    <a:pt x="56" y="67"/>
                  </a:cubicBezTo>
                  <a:cubicBezTo>
                    <a:pt x="56" y="58"/>
                    <a:pt x="56" y="53"/>
                    <a:pt x="70" y="53"/>
                  </a:cubicBezTo>
                  <a:cubicBezTo>
                    <a:pt x="89" y="53"/>
                    <a:pt x="122" y="52"/>
                    <a:pt x="148" y="52"/>
                  </a:cubicBezTo>
                  <a:cubicBezTo>
                    <a:pt x="162" y="52"/>
                    <a:pt x="176" y="52"/>
                    <a:pt x="190" y="52"/>
                  </a:cubicBezTo>
                  <a:cubicBezTo>
                    <a:pt x="197" y="52"/>
                    <a:pt x="204" y="52"/>
                    <a:pt x="211" y="52"/>
                  </a:cubicBezTo>
                  <a:cubicBezTo>
                    <a:pt x="222" y="52"/>
                    <a:pt x="222" y="52"/>
                    <a:pt x="222" y="52"/>
                  </a:cubicBezTo>
                  <a:cubicBezTo>
                    <a:pt x="225" y="52"/>
                    <a:pt x="228" y="52"/>
                    <a:pt x="231" y="53"/>
                  </a:cubicBezTo>
                  <a:cubicBezTo>
                    <a:pt x="257" y="54"/>
                    <a:pt x="282" y="61"/>
                    <a:pt x="306" y="72"/>
                  </a:cubicBezTo>
                  <a:cubicBezTo>
                    <a:pt x="317" y="78"/>
                    <a:pt x="328" y="84"/>
                    <a:pt x="339" y="92"/>
                  </a:cubicBezTo>
                  <a:cubicBezTo>
                    <a:pt x="344" y="95"/>
                    <a:pt x="349" y="99"/>
                    <a:pt x="353" y="104"/>
                  </a:cubicBezTo>
                  <a:cubicBezTo>
                    <a:pt x="358" y="108"/>
                    <a:pt x="363" y="113"/>
                    <a:pt x="368" y="117"/>
                  </a:cubicBezTo>
                  <a:cubicBezTo>
                    <a:pt x="408" y="155"/>
                    <a:pt x="448" y="191"/>
                    <a:pt x="487" y="228"/>
                  </a:cubicBezTo>
                  <a:cubicBezTo>
                    <a:pt x="506" y="246"/>
                    <a:pt x="525" y="264"/>
                    <a:pt x="544" y="281"/>
                  </a:cubicBezTo>
                  <a:cubicBezTo>
                    <a:pt x="552" y="288"/>
                    <a:pt x="552" y="288"/>
                    <a:pt x="552" y="288"/>
                  </a:cubicBezTo>
                  <a:cubicBezTo>
                    <a:pt x="555" y="291"/>
                    <a:pt x="555" y="291"/>
                    <a:pt x="555" y="291"/>
                  </a:cubicBezTo>
                  <a:cubicBezTo>
                    <a:pt x="558" y="295"/>
                    <a:pt x="558" y="295"/>
                    <a:pt x="558" y="295"/>
                  </a:cubicBezTo>
                  <a:cubicBezTo>
                    <a:pt x="563" y="299"/>
                    <a:pt x="568" y="304"/>
                    <a:pt x="573" y="308"/>
                  </a:cubicBezTo>
                  <a:cubicBezTo>
                    <a:pt x="583" y="317"/>
                    <a:pt x="593" y="326"/>
                    <a:pt x="604" y="334"/>
                  </a:cubicBezTo>
                  <a:cubicBezTo>
                    <a:pt x="641" y="362"/>
                    <a:pt x="680" y="382"/>
                    <a:pt x="716" y="397"/>
                  </a:cubicBezTo>
                  <a:cubicBezTo>
                    <a:pt x="752" y="411"/>
                    <a:pt x="786" y="420"/>
                    <a:pt x="815" y="425"/>
                  </a:cubicBezTo>
                  <a:cubicBezTo>
                    <a:pt x="843" y="430"/>
                    <a:pt x="868" y="432"/>
                    <a:pt x="886" y="432"/>
                  </a:cubicBezTo>
                  <a:cubicBezTo>
                    <a:pt x="904" y="433"/>
                    <a:pt x="916" y="432"/>
                    <a:pt x="922" y="432"/>
                  </a:cubicBezTo>
                  <a:cubicBezTo>
                    <a:pt x="944" y="431"/>
                    <a:pt x="960" y="428"/>
                    <a:pt x="971" y="426"/>
                  </a:cubicBezTo>
                  <a:cubicBezTo>
                    <a:pt x="982" y="424"/>
                    <a:pt x="988" y="423"/>
                    <a:pt x="989" y="422"/>
                  </a:cubicBezTo>
                  <a:cubicBezTo>
                    <a:pt x="989" y="420"/>
                    <a:pt x="985" y="420"/>
                    <a:pt x="975" y="420"/>
                  </a:cubicBezTo>
                  <a:cubicBezTo>
                    <a:pt x="965" y="420"/>
                    <a:pt x="952" y="420"/>
                    <a:pt x="928" y="419"/>
                  </a:cubicBezTo>
                  <a:cubicBezTo>
                    <a:pt x="899" y="418"/>
                    <a:pt x="856" y="415"/>
                    <a:pt x="804" y="402"/>
                  </a:cubicBezTo>
                  <a:cubicBezTo>
                    <a:pt x="778" y="395"/>
                    <a:pt x="749" y="386"/>
                    <a:pt x="720" y="373"/>
                  </a:cubicBezTo>
                  <a:cubicBezTo>
                    <a:pt x="690" y="359"/>
                    <a:pt x="659" y="342"/>
                    <a:pt x="630" y="320"/>
                  </a:cubicBezTo>
                  <a:cubicBezTo>
                    <a:pt x="615" y="308"/>
                    <a:pt x="600" y="296"/>
                    <a:pt x="585" y="282"/>
                  </a:cubicBezTo>
                  <a:cubicBezTo>
                    <a:pt x="582" y="279"/>
                    <a:pt x="578" y="275"/>
                    <a:pt x="575" y="272"/>
                  </a:cubicBezTo>
                  <a:cubicBezTo>
                    <a:pt x="571" y="268"/>
                    <a:pt x="567" y="265"/>
                    <a:pt x="563" y="261"/>
                  </a:cubicBezTo>
                  <a:cubicBezTo>
                    <a:pt x="556" y="254"/>
                    <a:pt x="548" y="246"/>
                    <a:pt x="540" y="239"/>
                  </a:cubicBezTo>
                  <a:cubicBezTo>
                    <a:pt x="510" y="209"/>
                    <a:pt x="477" y="178"/>
                    <a:pt x="443" y="145"/>
                  </a:cubicBezTo>
                  <a:cubicBezTo>
                    <a:pt x="426" y="129"/>
                    <a:pt x="409" y="112"/>
                    <a:pt x="391" y="95"/>
                  </a:cubicBezTo>
                  <a:cubicBezTo>
                    <a:pt x="386" y="91"/>
                    <a:pt x="382" y="87"/>
                    <a:pt x="377" y="83"/>
                  </a:cubicBezTo>
                  <a:cubicBezTo>
                    <a:pt x="372" y="78"/>
                    <a:pt x="367" y="74"/>
                    <a:pt x="362" y="70"/>
                  </a:cubicBezTo>
                  <a:cubicBezTo>
                    <a:pt x="352" y="61"/>
                    <a:pt x="340" y="54"/>
                    <a:pt x="328" y="47"/>
                  </a:cubicBezTo>
                  <a:cubicBezTo>
                    <a:pt x="304" y="35"/>
                    <a:pt x="278" y="25"/>
                    <a:pt x="250" y="21"/>
                  </a:cubicBezTo>
                  <a:cubicBezTo>
                    <a:pt x="243" y="20"/>
                    <a:pt x="236" y="20"/>
                    <a:pt x="229" y="19"/>
                  </a:cubicBezTo>
                  <a:cubicBezTo>
                    <a:pt x="224" y="19"/>
                    <a:pt x="224" y="19"/>
                    <a:pt x="224" y="19"/>
                  </a:cubicBezTo>
                  <a:cubicBezTo>
                    <a:pt x="222" y="19"/>
                    <a:pt x="220" y="19"/>
                    <a:pt x="218" y="19"/>
                  </a:cubicBezTo>
                  <a:cubicBezTo>
                    <a:pt x="215" y="19"/>
                    <a:pt x="212" y="19"/>
                    <a:pt x="208" y="19"/>
                  </a:cubicBezTo>
                  <a:cubicBezTo>
                    <a:pt x="195" y="19"/>
                    <a:pt x="181" y="19"/>
                    <a:pt x="168" y="18"/>
                  </a:cubicBezTo>
                  <a:cubicBezTo>
                    <a:pt x="131" y="18"/>
                    <a:pt x="94" y="18"/>
                    <a:pt x="56" y="18"/>
                  </a:cubicBezTo>
                  <a:cubicBezTo>
                    <a:pt x="34" y="19"/>
                    <a:pt x="21" y="34"/>
                    <a:pt x="21" y="53"/>
                  </a:cubicBezTo>
                  <a:cubicBezTo>
                    <a:pt x="21" y="71"/>
                    <a:pt x="20" y="142"/>
                    <a:pt x="20" y="186"/>
                  </a:cubicBezTo>
                  <a:cubicBezTo>
                    <a:pt x="19" y="304"/>
                    <a:pt x="19" y="424"/>
                    <a:pt x="18" y="545"/>
                  </a:cubicBezTo>
                  <a:cubicBezTo>
                    <a:pt x="18" y="605"/>
                    <a:pt x="18" y="665"/>
                    <a:pt x="18" y="726"/>
                  </a:cubicBezTo>
                  <a:cubicBezTo>
                    <a:pt x="18" y="748"/>
                    <a:pt x="18" y="748"/>
                    <a:pt x="18" y="748"/>
                  </a:cubicBezTo>
                  <a:cubicBezTo>
                    <a:pt x="18" y="760"/>
                    <a:pt x="18" y="760"/>
                    <a:pt x="18" y="760"/>
                  </a:cubicBezTo>
                  <a:cubicBezTo>
                    <a:pt x="18" y="764"/>
                    <a:pt x="19" y="769"/>
                    <a:pt x="19" y="774"/>
                  </a:cubicBezTo>
                  <a:cubicBezTo>
                    <a:pt x="22" y="792"/>
                    <a:pt x="29" y="809"/>
                    <a:pt x="39" y="823"/>
                  </a:cubicBezTo>
                  <a:cubicBezTo>
                    <a:pt x="48" y="838"/>
                    <a:pt x="60" y="850"/>
                    <a:pt x="73" y="861"/>
                  </a:cubicBezTo>
                  <a:cubicBezTo>
                    <a:pt x="86" y="871"/>
                    <a:pt x="101" y="880"/>
                    <a:pt x="116" y="887"/>
                  </a:cubicBezTo>
                  <a:cubicBezTo>
                    <a:pt x="131" y="893"/>
                    <a:pt x="147" y="898"/>
                    <a:pt x="164" y="901"/>
                  </a:cubicBezTo>
                  <a:cubicBezTo>
                    <a:pt x="168" y="901"/>
                    <a:pt x="172" y="902"/>
                    <a:pt x="177" y="902"/>
                  </a:cubicBezTo>
                  <a:cubicBezTo>
                    <a:pt x="179" y="902"/>
                    <a:pt x="181" y="902"/>
                    <a:pt x="183" y="902"/>
                  </a:cubicBezTo>
                  <a:cubicBezTo>
                    <a:pt x="189" y="902"/>
                    <a:pt x="189" y="902"/>
                    <a:pt x="189" y="902"/>
                  </a:cubicBezTo>
                  <a:cubicBezTo>
                    <a:pt x="197" y="902"/>
                    <a:pt x="204" y="902"/>
                    <a:pt x="212" y="902"/>
                  </a:cubicBezTo>
                  <a:cubicBezTo>
                    <a:pt x="223" y="902"/>
                    <a:pt x="223" y="902"/>
                    <a:pt x="223" y="902"/>
                  </a:cubicBezTo>
                  <a:cubicBezTo>
                    <a:pt x="229" y="902"/>
                    <a:pt x="229" y="902"/>
                    <a:pt x="229" y="902"/>
                  </a:cubicBezTo>
                  <a:cubicBezTo>
                    <a:pt x="236" y="901"/>
                    <a:pt x="236" y="901"/>
                    <a:pt x="236" y="901"/>
                  </a:cubicBezTo>
                  <a:cubicBezTo>
                    <a:pt x="247" y="901"/>
                    <a:pt x="258" y="899"/>
                    <a:pt x="268" y="896"/>
                  </a:cubicBezTo>
                  <a:cubicBezTo>
                    <a:pt x="272" y="894"/>
                    <a:pt x="277" y="891"/>
                    <a:pt x="280" y="886"/>
                  </a:cubicBezTo>
                  <a:cubicBezTo>
                    <a:pt x="283" y="882"/>
                    <a:pt x="285" y="878"/>
                    <a:pt x="286" y="873"/>
                  </a:cubicBezTo>
                  <a:cubicBezTo>
                    <a:pt x="287" y="870"/>
                    <a:pt x="287" y="868"/>
                    <a:pt x="288" y="865"/>
                  </a:cubicBezTo>
                  <a:cubicBezTo>
                    <a:pt x="288" y="862"/>
                    <a:pt x="288" y="860"/>
                    <a:pt x="288" y="857"/>
                  </a:cubicBezTo>
                  <a:cubicBezTo>
                    <a:pt x="288" y="841"/>
                    <a:pt x="288" y="841"/>
                    <a:pt x="288" y="841"/>
                  </a:cubicBezTo>
                  <a:cubicBezTo>
                    <a:pt x="288" y="782"/>
                    <a:pt x="288" y="724"/>
                    <a:pt x="288" y="666"/>
                  </a:cubicBezTo>
                  <a:cubicBezTo>
                    <a:pt x="288" y="652"/>
                    <a:pt x="288" y="638"/>
                    <a:pt x="288" y="623"/>
                  </a:cubicBezTo>
                  <a:cubicBezTo>
                    <a:pt x="288" y="616"/>
                    <a:pt x="287" y="609"/>
                    <a:pt x="288" y="603"/>
                  </a:cubicBezTo>
                  <a:cubicBezTo>
                    <a:pt x="288" y="597"/>
                    <a:pt x="289" y="591"/>
                    <a:pt x="290" y="586"/>
                  </a:cubicBezTo>
                  <a:cubicBezTo>
                    <a:pt x="296" y="562"/>
                    <a:pt x="310" y="541"/>
                    <a:pt x="329" y="528"/>
                  </a:cubicBezTo>
                  <a:cubicBezTo>
                    <a:pt x="339" y="521"/>
                    <a:pt x="349" y="515"/>
                    <a:pt x="360" y="512"/>
                  </a:cubicBezTo>
                  <a:cubicBezTo>
                    <a:pt x="366" y="511"/>
                    <a:pt x="372" y="510"/>
                    <a:pt x="377" y="509"/>
                  </a:cubicBezTo>
                  <a:cubicBezTo>
                    <a:pt x="380" y="509"/>
                    <a:pt x="383" y="509"/>
                    <a:pt x="386" y="509"/>
                  </a:cubicBezTo>
                  <a:cubicBezTo>
                    <a:pt x="389" y="509"/>
                    <a:pt x="392" y="509"/>
                    <a:pt x="395" y="509"/>
                  </a:cubicBezTo>
                  <a:cubicBezTo>
                    <a:pt x="420" y="510"/>
                    <a:pt x="445" y="516"/>
                    <a:pt x="468" y="526"/>
                  </a:cubicBezTo>
                  <a:cubicBezTo>
                    <a:pt x="491" y="536"/>
                    <a:pt x="512" y="549"/>
                    <a:pt x="532" y="564"/>
                  </a:cubicBezTo>
                  <a:cubicBezTo>
                    <a:pt x="553" y="579"/>
                    <a:pt x="572" y="596"/>
                    <a:pt x="590" y="612"/>
                  </a:cubicBezTo>
                  <a:cubicBezTo>
                    <a:pt x="609" y="629"/>
                    <a:pt x="627" y="646"/>
                    <a:pt x="646" y="663"/>
                  </a:cubicBezTo>
                  <a:cubicBezTo>
                    <a:pt x="655" y="671"/>
                    <a:pt x="664" y="679"/>
                    <a:pt x="673" y="687"/>
                  </a:cubicBezTo>
                  <a:cubicBezTo>
                    <a:pt x="682" y="695"/>
                    <a:pt x="691" y="703"/>
                    <a:pt x="700" y="711"/>
                  </a:cubicBezTo>
                  <a:cubicBezTo>
                    <a:pt x="736" y="742"/>
                    <a:pt x="770" y="774"/>
                    <a:pt x="808" y="798"/>
                  </a:cubicBezTo>
                  <a:cubicBezTo>
                    <a:pt x="828" y="811"/>
                    <a:pt x="848" y="821"/>
                    <a:pt x="869" y="828"/>
                  </a:cubicBezTo>
                  <a:cubicBezTo>
                    <a:pt x="890" y="835"/>
                    <a:pt x="913" y="838"/>
                    <a:pt x="934" y="836"/>
                  </a:cubicBezTo>
                  <a:cubicBezTo>
                    <a:pt x="956" y="834"/>
                    <a:pt x="976" y="828"/>
                    <a:pt x="994" y="820"/>
                  </a:cubicBezTo>
                  <a:cubicBezTo>
                    <a:pt x="1012" y="811"/>
                    <a:pt x="1028" y="801"/>
                    <a:pt x="1043" y="791"/>
                  </a:cubicBezTo>
                  <a:cubicBezTo>
                    <a:pt x="1072" y="770"/>
                    <a:pt x="1096" y="747"/>
                    <a:pt x="1119" y="727"/>
                  </a:cubicBezTo>
                  <a:cubicBezTo>
                    <a:pt x="1140" y="706"/>
                    <a:pt x="1160" y="687"/>
                    <a:pt x="1179" y="670"/>
                  </a:cubicBezTo>
                  <a:cubicBezTo>
                    <a:pt x="1197" y="653"/>
                    <a:pt x="1212" y="637"/>
                    <a:pt x="1226" y="623"/>
                  </a:cubicBezTo>
                  <a:cubicBezTo>
                    <a:pt x="1247" y="602"/>
                    <a:pt x="1259" y="589"/>
                    <a:pt x="1272" y="577"/>
                  </a:cubicBezTo>
                  <a:cubicBezTo>
                    <a:pt x="1291" y="559"/>
                    <a:pt x="1304" y="547"/>
                    <a:pt x="1309" y="541"/>
                  </a:cubicBezTo>
                  <a:cubicBezTo>
                    <a:pt x="1314" y="536"/>
                    <a:pt x="1312" y="535"/>
                    <a:pt x="1301" y="542"/>
                  </a:cubicBezTo>
                  <a:close/>
                  <a:moveTo>
                    <a:pt x="1834" y="859"/>
                  </a:moveTo>
                  <a:cubicBezTo>
                    <a:pt x="1834" y="862"/>
                    <a:pt x="1835" y="865"/>
                    <a:pt x="1834" y="868"/>
                  </a:cubicBezTo>
                  <a:cubicBezTo>
                    <a:pt x="1834" y="871"/>
                    <a:pt x="1833" y="874"/>
                    <a:pt x="1832" y="877"/>
                  </a:cubicBezTo>
                  <a:cubicBezTo>
                    <a:pt x="1831" y="882"/>
                    <a:pt x="1828" y="887"/>
                    <a:pt x="1824" y="892"/>
                  </a:cubicBezTo>
                  <a:cubicBezTo>
                    <a:pt x="1822" y="894"/>
                    <a:pt x="1820" y="896"/>
                    <a:pt x="1818" y="898"/>
                  </a:cubicBezTo>
                  <a:cubicBezTo>
                    <a:pt x="1816" y="900"/>
                    <a:pt x="1813" y="901"/>
                    <a:pt x="1810" y="902"/>
                  </a:cubicBezTo>
                  <a:cubicBezTo>
                    <a:pt x="1805" y="905"/>
                    <a:pt x="1799" y="906"/>
                    <a:pt x="1793" y="907"/>
                  </a:cubicBezTo>
                  <a:cubicBezTo>
                    <a:pt x="1786" y="908"/>
                    <a:pt x="1779" y="909"/>
                    <a:pt x="1773" y="909"/>
                  </a:cubicBezTo>
                  <a:cubicBezTo>
                    <a:pt x="1769" y="910"/>
                    <a:pt x="1764" y="910"/>
                    <a:pt x="1760" y="910"/>
                  </a:cubicBezTo>
                  <a:cubicBezTo>
                    <a:pt x="1752" y="910"/>
                    <a:pt x="1743" y="911"/>
                    <a:pt x="1735" y="911"/>
                  </a:cubicBezTo>
                  <a:cubicBezTo>
                    <a:pt x="1732" y="911"/>
                    <a:pt x="1730" y="911"/>
                    <a:pt x="1728" y="911"/>
                  </a:cubicBezTo>
                  <a:cubicBezTo>
                    <a:pt x="1725" y="911"/>
                    <a:pt x="1723" y="911"/>
                    <a:pt x="1720" y="911"/>
                  </a:cubicBezTo>
                  <a:cubicBezTo>
                    <a:pt x="1715" y="911"/>
                    <a:pt x="1710" y="910"/>
                    <a:pt x="1704" y="910"/>
                  </a:cubicBezTo>
                  <a:cubicBezTo>
                    <a:pt x="1685" y="907"/>
                    <a:pt x="1665" y="901"/>
                    <a:pt x="1645" y="892"/>
                  </a:cubicBezTo>
                  <a:cubicBezTo>
                    <a:pt x="1625" y="882"/>
                    <a:pt x="1605" y="869"/>
                    <a:pt x="1587" y="851"/>
                  </a:cubicBezTo>
                  <a:cubicBezTo>
                    <a:pt x="1578" y="842"/>
                    <a:pt x="1570" y="831"/>
                    <a:pt x="1563" y="819"/>
                  </a:cubicBezTo>
                  <a:cubicBezTo>
                    <a:pt x="1556" y="807"/>
                    <a:pt x="1550" y="793"/>
                    <a:pt x="1548" y="777"/>
                  </a:cubicBezTo>
                  <a:cubicBezTo>
                    <a:pt x="1547" y="773"/>
                    <a:pt x="1546" y="769"/>
                    <a:pt x="1546" y="765"/>
                  </a:cubicBezTo>
                  <a:cubicBezTo>
                    <a:pt x="1546" y="763"/>
                    <a:pt x="1546" y="761"/>
                    <a:pt x="1546" y="759"/>
                  </a:cubicBezTo>
                  <a:cubicBezTo>
                    <a:pt x="1546" y="755"/>
                    <a:pt x="1546" y="755"/>
                    <a:pt x="1546" y="755"/>
                  </a:cubicBezTo>
                  <a:cubicBezTo>
                    <a:pt x="1546" y="749"/>
                    <a:pt x="1546" y="743"/>
                    <a:pt x="1546" y="737"/>
                  </a:cubicBezTo>
                  <a:cubicBezTo>
                    <a:pt x="1545" y="725"/>
                    <a:pt x="1545" y="713"/>
                    <a:pt x="1545" y="700"/>
                  </a:cubicBezTo>
                  <a:cubicBezTo>
                    <a:pt x="1545" y="676"/>
                    <a:pt x="1545" y="650"/>
                    <a:pt x="1544" y="624"/>
                  </a:cubicBezTo>
                  <a:cubicBezTo>
                    <a:pt x="1544" y="620"/>
                    <a:pt x="1544" y="617"/>
                    <a:pt x="1544" y="614"/>
                  </a:cubicBezTo>
                  <a:cubicBezTo>
                    <a:pt x="1544" y="609"/>
                    <a:pt x="1544" y="609"/>
                    <a:pt x="1544" y="609"/>
                  </a:cubicBezTo>
                  <a:cubicBezTo>
                    <a:pt x="1544" y="608"/>
                    <a:pt x="1544" y="607"/>
                    <a:pt x="1544" y="605"/>
                  </a:cubicBezTo>
                  <a:cubicBezTo>
                    <a:pt x="1544" y="601"/>
                    <a:pt x="1543" y="596"/>
                    <a:pt x="1542" y="591"/>
                  </a:cubicBezTo>
                  <a:cubicBezTo>
                    <a:pt x="1540" y="582"/>
                    <a:pt x="1536" y="572"/>
                    <a:pt x="1531" y="564"/>
                  </a:cubicBezTo>
                  <a:cubicBezTo>
                    <a:pt x="1520" y="547"/>
                    <a:pt x="1503" y="534"/>
                    <a:pt x="1483" y="529"/>
                  </a:cubicBezTo>
                  <a:cubicBezTo>
                    <a:pt x="1478" y="527"/>
                    <a:pt x="1473" y="526"/>
                    <a:pt x="1468" y="526"/>
                  </a:cubicBezTo>
                  <a:cubicBezTo>
                    <a:pt x="1466" y="526"/>
                    <a:pt x="1463" y="525"/>
                    <a:pt x="1461" y="525"/>
                  </a:cubicBezTo>
                  <a:cubicBezTo>
                    <a:pt x="1458" y="525"/>
                    <a:pt x="1455" y="526"/>
                    <a:pt x="1452" y="526"/>
                  </a:cubicBezTo>
                  <a:cubicBezTo>
                    <a:pt x="1439" y="527"/>
                    <a:pt x="1427" y="529"/>
                    <a:pt x="1415" y="532"/>
                  </a:cubicBezTo>
                  <a:cubicBezTo>
                    <a:pt x="1391" y="539"/>
                    <a:pt x="1366" y="551"/>
                    <a:pt x="1343" y="567"/>
                  </a:cubicBezTo>
                  <a:cubicBezTo>
                    <a:pt x="1320" y="582"/>
                    <a:pt x="1297" y="601"/>
                    <a:pt x="1275" y="622"/>
                  </a:cubicBezTo>
                  <a:cubicBezTo>
                    <a:pt x="1252" y="643"/>
                    <a:pt x="1229" y="666"/>
                    <a:pt x="1204" y="688"/>
                  </a:cubicBezTo>
                  <a:cubicBezTo>
                    <a:pt x="1181" y="709"/>
                    <a:pt x="1157" y="731"/>
                    <a:pt x="1132" y="753"/>
                  </a:cubicBezTo>
                  <a:cubicBezTo>
                    <a:pt x="1108" y="775"/>
                    <a:pt x="1082" y="798"/>
                    <a:pt x="1052" y="818"/>
                  </a:cubicBezTo>
                  <a:cubicBezTo>
                    <a:pt x="1037" y="828"/>
                    <a:pt x="1021" y="837"/>
                    <a:pt x="1003" y="845"/>
                  </a:cubicBezTo>
                  <a:cubicBezTo>
                    <a:pt x="985" y="853"/>
                    <a:pt x="966" y="859"/>
                    <a:pt x="945" y="861"/>
                  </a:cubicBezTo>
                  <a:cubicBezTo>
                    <a:pt x="925" y="863"/>
                    <a:pt x="904" y="862"/>
                    <a:pt x="884" y="858"/>
                  </a:cubicBezTo>
                  <a:cubicBezTo>
                    <a:pt x="864" y="854"/>
                    <a:pt x="845" y="847"/>
                    <a:pt x="829" y="839"/>
                  </a:cubicBezTo>
                  <a:cubicBezTo>
                    <a:pt x="795" y="822"/>
                    <a:pt x="767" y="800"/>
                    <a:pt x="741" y="778"/>
                  </a:cubicBezTo>
                  <a:cubicBezTo>
                    <a:pt x="715" y="757"/>
                    <a:pt x="691" y="735"/>
                    <a:pt x="668" y="714"/>
                  </a:cubicBezTo>
                  <a:cubicBezTo>
                    <a:pt x="656" y="703"/>
                    <a:pt x="644" y="693"/>
                    <a:pt x="633" y="682"/>
                  </a:cubicBezTo>
                  <a:cubicBezTo>
                    <a:pt x="621" y="671"/>
                    <a:pt x="609" y="661"/>
                    <a:pt x="598" y="650"/>
                  </a:cubicBezTo>
                  <a:cubicBezTo>
                    <a:pt x="575" y="629"/>
                    <a:pt x="554" y="609"/>
                    <a:pt x="532" y="592"/>
                  </a:cubicBezTo>
                  <a:cubicBezTo>
                    <a:pt x="510" y="574"/>
                    <a:pt x="487" y="559"/>
                    <a:pt x="465" y="549"/>
                  </a:cubicBezTo>
                  <a:cubicBezTo>
                    <a:pt x="442" y="538"/>
                    <a:pt x="419" y="532"/>
                    <a:pt x="397" y="530"/>
                  </a:cubicBezTo>
                  <a:cubicBezTo>
                    <a:pt x="392" y="530"/>
                    <a:pt x="385" y="530"/>
                    <a:pt x="381" y="530"/>
                  </a:cubicBezTo>
                  <a:cubicBezTo>
                    <a:pt x="377" y="530"/>
                    <a:pt x="372" y="531"/>
                    <a:pt x="368" y="532"/>
                  </a:cubicBezTo>
                  <a:cubicBezTo>
                    <a:pt x="360" y="534"/>
                    <a:pt x="351" y="538"/>
                    <a:pt x="344" y="542"/>
                  </a:cubicBezTo>
                  <a:cubicBezTo>
                    <a:pt x="329" y="552"/>
                    <a:pt x="318" y="566"/>
                    <a:pt x="313" y="582"/>
                  </a:cubicBezTo>
                  <a:cubicBezTo>
                    <a:pt x="310" y="589"/>
                    <a:pt x="308" y="597"/>
                    <a:pt x="308" y="605"/>
                  </a:cubicBezTo>
                  <a:cubicBezTo>
                    <a:pt x="308" y="606"/>
                    <a:pt x="308" y="607"/>
                    <a:pt x="308" y="608"/>
                  </a:cubicBezTo>
                  <a:cubicBezTo>
                    <a:pt x="308" y="612"/>
                    <a:pt x="308" y="612"/>
                    <a:pt x="308" y="612"/>
                  </a:cubicBezTo>
                  <a:cubicBezTo>
                    <a:pt x="308" y="615"/>
                    <a:pt x="308" y="618"/>
                    <a:pt x="308" y="620"/>
                  </a:cubicBezTo>
                  <a:cubicBezTo>
                    <a:pt x="308" y="626"/>
                    <a:pt x="308" y="632"/>
                    <a:pt x="308" y="637"/>
                  </a:cubicBezTo>
                  <a:cubicBezTo>
                    <a:pt x="308" y="682"/>
                    <a:pt x="308" y="723"/>
                    <a:pt x="308" y="759"/>
                  </a:cubicBezTo>
                  <a:cubicBezTo>
                    <a:pt x="308" y="777"/>
                    <a:pt x="308" y="794"/>
                    <a:pt x="307" y="809"/>
                  </a:cubicBezTo>
                  <a:cubicBezTo>
                    <a:pt x="307" y="817"/>
                    <a:pt x="307" y="824"/>
                    <a:pt x="307" y="831"/>
                  </a:cubicBezTo>
                  <a:cubicBezTo>
                    <a:pt x="307" y="835"/>
                    <a:pt x="307" y="838"/>
                    <a:pt x="307" y="841"/>
                  </a:cubicBezTo>
                  <a:cubicBezTo>
                    <a:pt x="307" y="848"/>
                    <a:pt x="307" y="854"/>
                    <a:pt x="307" y="860"/>
                  </a:cubicBezTo>
                  <a:cubicBezTo>
                    <a:pt x="308" y="872"/>
                    <a:pt x="305" y="883"/>
                    <a:pt x="300" y="891"/>
                  </a:cubicBezTo>
                  <a:cubicBezTo>
                    <a:pt x="295" y="900"/>
                    <a:pt x="287" y="907"/>
                    <a:pt x="280" y="911"/>
                  </a:cubicBezTo>
                  <a:cubicBezTo>
                    <a:pt x="273" y="915"/>
                    <a:pt x="265" y="917"/>
                    <a:pt x="257" y="918"/>
                  </a:cubicBezTo>
                  <a:cubicBezTo>
                    <a:pt x="249" y="919"/>
                    <a:pt x="242" y="920"/>
                    <a:pt x="235" y="920"/>
                  </a:cubicBezTo>
                  <a:cubicBezTo>
                    <a:pt x="232" y="920"/>
                    <a:pt x="228" y="921"/>
                    <a:pt x="226" y="921"/>
                  </a:cubicBezTo>
                  <a:cubicBezTo>
                    <a:pt x="223" y="921"/>
                    <a:pt x="221" y="921"/>
                    <a:pt x="219" y="921"/>
                  </a:cubicBezTo>
                  <a:cubicBezTo>
                    <a:pt x="216" y="921"/>
                    <a:pt x="215" y="921"/>
                    <a:pt x="215" y="921"/>
                  </a:cubicBezTo>
                  <a:cubicBezTo>
                    <a:pt x="208" y="921"/>
                    <a:pt x="200" y="921"/>
                    <a:pt x="192" y="921"/>
                  </a:cubicBezTo>
                  <a:cubicBezTo>
                    <a:pt x="190" y="921"/>
                    <a:pt x="188" y="921"/>
                    <a:pt x="186" y="921"/>
                  </a:cubicBezTo>
                  <a:cubicBezTo>
                    <a:pt x="183" y="921"/>
                    <a:pt x="181" y="921"/>
                    <a:pt x="178" y="921"/>
                  </a:cubicBezTo>
                  <a:cubicBezTo>
                    <a:pt x="173" y="921"/>
                    <a:pt x="168" y="920"/>
                    <a:pt x="163" y="920"/>
                  </a:cubicBezTo>
                  <a:cubicBezTo>
                    <a:pt x="143" y="917"/>
                    <a:pt x="124" y="911"/>
                    <a:pt x="105" y="902"/>
                  </a:cubicBezTo>
                  <a:cubicBezTo>
                    <a:pt x="87" y="894"/>
                    <a:pt x="69" y="882"/>
                    <a:pt x="53" y="868"/>
                  </a:cubicBezTo>
                  <a:cubicBezTo>
                    <a:pt x="37" y="853"/>
                    <a:pt x="22" y="835"/>
                    <a:pt x="12" y="812"/>
                  </a:cubicBezTo>
                  <a:cubicBezTo>
                    <a:pt x="7" y="801"/>
                    <a:pt x="3" y="788"/>
                    <a:pt x="1" y="775"/>
                  </a:cubicBezTo>
                  <a:cubicBezTo>
                    <a:pt x="1" y="772"/>
                    <a:pt x="0" y="769"/>
                    <a:pt x="0" y="765"/>
                  </a:cubicBezTo>
                  <a:cubicBezTo>
                    <a:pt x="0" y="764"/>
                    <a:pt x="0" y="762"/>
                    <a:pt x="0" y="760"/>
                  </a:cubicBezTo>
                  <a:cubicBezTo>
                    <a:pt x="0" y="756"/>
                    <a:pt x="0" y="756"/>
                    <a:pt x="0" y="756"/>
                  </a:cubicBezTo>
                  <a:cubicBezTo>
                    <a:pt x="0" y="752"/>
                    <a:pt x="0" y="747"/>
                    <a:pt x="0" y="742"/>
                  </a:cubicBezTo>
                  <a:cubicBezTo>
                    <a:pt x="0" y="723"/>
                    <a:pt x="0" y="704"/>
                    <a:pt x="0" y="685"/>
                  </a:cubicBezTo>
                  <a:cubicBezTo>
                    <a:pt x="0" y="647"/>
                    <a:pt x="0" y="609"/>
                    <a:pt x="1" y="570"/>
                  </a:cubicBezTo>
                  <a:cubicBezTo>
                    <a:pt x="1" y="416"/>
                    <a:pt x="2" y="263"/>
                    <a:pt x="2" y="150"/>
                  </a:cubicBezTo>
                  <a:cubicBezTo>
                    <a:pt x="2" y="115"/>
                    <a:pt x="3" y="85"/>
                    <a:pt x="3" y="45"/>
                  </a:cubicBezTo>
                  <a:cubicBezTo>
                    <a:pt x="3" y="13"/>
                    <a:pt x="21" y="0"/>
                    <a:pt x="48" y="0"/>
                  </a:cubicBezTo>
                  <a:cubicBezTo>
                    <a:pt x="76" y="0"/>
                    <a:pt x="144" y="0"/>
                    <a:pt x="191" y="1"/>
                  </a:cubicBezTo>
                  <a:cubicBezTo>
                    <a:pt x="202" y="1"/>
                    <a:pt x="213" y="1"/>
                    <a:pt x="223" y="1"/>
                  </a:cubicBezTo>
                  <a:cubicBezTo>
                    <a:pt x="236" y="1"/>
                    <a:pt x="248" y="2"/>
                    <a:pt x="260" y="5"/>
                  </a:cubicBezTo>
                  <a:cubicBezTo>
                    <a:pt x="284" y="9"/>
                    <a:pt x="307" y="16"/>
                    <a:pt x="328" y="27"/>
                  </a:cubicBezTo>
                  <a:cubicBezTo>
                    <a:pt x="350" y="38"/>
                    <a:pt x="370" y="51"/>
                    <a:pt x="388" y="67"/>
                  </a:cubicBezTo>
                  <a:cubicBezTo>
                    <a:pt x="391" y="70"/>
                    <a:pt x="391" y="70"/>
                    <a:pt x="391" y="70"/>
                  </a:cubicBezTo>
                  <a:cubicBezTo>
                    <a:pt x="394" y="73"/>
                    <a:pt x="394" y="73"/>
                    <a:pt x="394" y="73"/>
                  </a:cubicBezTo>
                  <a:cubicBezTo>
                    <a:pt x="399" y="78"/>
                    <a:pt x="399" y="78"/>
                    <a:pt x="399" y="78"/>
                  </a:cubicBezTo>
                  <a:cubicBezTo>
                    <a:pt x="411" y="89"/>
                    <a:pt x="411" y="89"/>
                    <a:pt x="411" y="89"/>
                  </a:cubicBezTo>
                  <a:cubicBezTo>
                    <a:pt x="418" y="96"/>
                    <a:pt x="426" y="103"/>
                    <a:pt x="433" y="110"/>
                  </a:cubicBezTo>
                  <a:cubicBezTo>
                    <a:pt x="463" y="139"/>
                    <a:pt x="492" y="167"/>
                    <a:pt x="522" y="194"/>
                  </a:cubicBezTo>
                  <a:cubicBezTo>
                    <a:pt x="550" y="222"/>
                    <a:pt x="579" y="249"/>
                    <a:pt x="608" y="276"/>
                  </a:cubicBezTo>
                  <a:cubicBezTo>
                    <a:pt x="635" y="301"/>
                    <a:pt x="665" y="322"/>
                    <a:pt x="698" y="339"/>
                  </a:cubicBezTo>
                  <a:cubicBezTo>
                    <a:pt x="762" y="373"/>
                    <a:pt x="832" y="391"/>
                    <a:pt x="902" y="394"/>
                  </a:cubicBezTo>
                  <a:cubicBezTo>
                    <a:pt x="972" y="398"/>
                    <a:pt x="1040" y="387"/>
                    <a:pt x="1101" y="365"/>
                  </a:cubicBezTo>
                  <a:cubicBezTo>
                    <a:pt x="1132" y="353"/>
                    <a:pt x="1161" y="339"/>
                    <a:pt x="1188" y="322"/>
                  </a:cubicBezTo>
                  <a:cubicBezTo>
                    <a:pt x="1201" y="314"/>
                    <a:pt x="1214" y="305"/>
                    <a:pt x="1226" y="295"/>
                  </a:cubicBezTo>
                  <a:cubicBezTo>
                    <a:pt x="1232" y="290"/>
                    <a:pt x="1238" y="285"/>
                    <a:pt x="1244" y="280"/>
                  </a:cubicBezTo>
                  <a:cubicBezTo>
                    <a:pt x="1247" y="278"/>
                    <a:pt x="1249" y="275"/>
                    <a:pt x="1252" y="273"/>
                  </a:cubicBezTo>
                  <a:cubicBezTo>
                    <a:pt x="1255" y="270"/>
                    <a:pt x="1258" y="267"/>
                    <a:pt x="1261" y="265"/>
                  </a:cubicBezTo>
                  <a:cubicBezTo>
                    <a:pt x="1357" y="177"/>
                    <a:pt x="1519" y="28"/>
                    <a:pt x="1523" y="24"/>
                  </a:cubicBezTo>
                  <a:cubicBezTo>
                    <a:pt x="1528" y="20"/>
                    <a:pt x="1538" y="15"/>
                    <a:pt x="1548" y="15"/>
                  </a:cubicBezTo>
                  <a:cubicBezTo>
                    <a:pt x="1558" y="15"/>
                    <a:pt x="1656" y="16"/>
                    <a:pt x="1697" y="17"/>
                  </a:cubicBezTo>
                  <a:cubicBezTo>
                    <a:pt x="1714" y="17"/>
                    <a:pt x="1731" y="20"/>
                    <a:pt x="1746" y="26"/>
                  </a:cubicBezTo>
                  <a:cubicBezTo>
                    <a:pt x="1760" y="31"/>
                    <a:pt x="1773" y="39"/>
                    <a:pt x="1784" y="48"/>
                  </a:cubicBezTo>
                  <a:cubicBezTo>
                    <a:pt x="1805" y="65"/>
                    <a:pt x="1818" y="86"/>
                    <a:pt x="1825" y="103"/>
                  </a:cubicBezTo>
                  <a:cubicBezTo>
                    <a:pt x="1832" y="121"/>
                    <a:pt x="1834" y="135"/>
                    <a:pt x="1835" y="145"/>
                  </a:cubicBezTo>
                  <a:cubicBezTo>
                    <a:pt x="1835" y="152"/>
                    <a:pt x="1834" y="853"/>
                    <a:pt x="1834" y="859"/>
                  </a:cubicBezTo>
                  <a:close/>
                  <a:moveTo>
                    <a:pt x="1671" y="53"/>
                  </a:moveTo>
                  <a:cubicBezTo>
                    <a:pt x="1669" y="53"/>
                    <a:pt x="1558" y="55"/>
                    <a:pt x="1556" y="55"/>
                  </a:cubicBezTo>
                  <a:cubicBezTo>
                    <a:pt x="1553" y="55"/>
                    <a:pt x="1549" y="56"/>
                    <a:pt x="1545" y="59"/>
                  </a:cubicBezTo>
                  <a:cubicBezTo>
                    <a:pt x="1542" y="62"/>
                    <a:pt x="1470" y="132"/>
                    <a:pt x="1426" y="175"/>
                  </a:cubicBezTo>
                  <a:cubicBezTo>
                    <a:pt x="1403" y="197"/>
                    <a:pt x="1380" y="221"/>
                    <a:pt x="1355" y="244"/>
                  </a:cubicBezTo>
                  <a:cubicBezTo>
                    <a:pt x="1331" y="268"/>
                    <a:pt x="1307" y="292"/>
                    <a:pt x="1282" y="317"/>
                  </a:cubicBezTo>
                  <a:cubicBezTo>
                    <a:pt x="1266" y="332"/>
                    <a:pt x="1246" y="348"/>
                    <a:pt x="1225" y="364"/>
                  </a:cubicBezTo>
                  <a:cubicBezTo>
                    <a:pt x="1203" y="379"/>
                    <a:pt x="1179" y="393"/>
                    <a:pt x="1153" y="406"/>
                  </a:cubicBezTo>
                  <a:cubicBezTo>
                    <a:pt x="1127" y="418"/>
                    <a:pt x="1100" y="428"/>
                    <a:pt x="1072" y="436"/>
                  </a:cubicBezTo>
                  <a:cubicBezTo>
                    <a:pt x="1044" y="444"/>
                    <a:pt x="1016" y="450"/>
                    <a:pt x="990" y="453"/>
                  </a:cubicBezTo>
                  <a:cubicBezTo>
                    <a:pt x="936" y="460"/>
                    <a:pt x="888" y="459"/>
                    <a:pt x="853" y="455"/>
                  </a:cubicBezTo>
                  <a:cubicBezTo>
                    <a:pt x="835" y="453"/>
                    <a:pt x="821" y="450"/>
                    <a:pt x="812" y="449"/>
                  </a:cubicBezTo>
                  <a:cubicBezTo>
                    <a:pt x="807" y="448"/>
                    <a:pt x="803" y="447"/>
                    <a:pt x="800" y="446"/>
                  </a:cubicBezTo>
                  <a:cubicBezTo>
                    <a:pt x="798" y="446"/>
                    <a:pt x="796" y="445"/>
                    <a:pt x="796" y="445"/>
                  </a:cubicBezTo>
                  <a:cubicBezTo>
                    <a:pt x="747" y="435"/>
                    <a:pt x="688" y="415"/>
                    <a:pt x="632" y="380"/>
                  </a:cubicBezTo>
                  <a:cubicBezTo>
                    <a:pt x="604" y="363"/>
                    <a:pt x="576" y="342"/>
                    <a:pt x="550" y="318"/>
                  </a:cubicBezTo>
                  <a:cubicBezTo>
                    <a:pt x="547" y="315"/>
                    <a:pt x="544" y="312"/>
                    <a:pt x="540" y="309"/>
                  </a:cubicBezTo>
                  <a:cubicBezTo>
                    <a:pt x="539" y="308"/>
                    <a:pt x="539" y="308"/>
                    <a:pt x="539" y="308"/>
                  </a:cubicBezTo>
                  <a:cubicBezTo>
                    <a:pt x="539" y="307"/>
                    <a:pt x="539" y="307"/>
                    <a:pt x="539" y="307"/>
                  </a:cubicBezTo>
                  <a:cubicBezTo>
                    <a:pt x="537" y="305"/>
                    <a:pt x="537" y="305"/>
                    <a:pt x="537" y="305"/>
                  </a:cubicBezTo>
                  <a:cubicBezTo>
                    <a:pt x="532" y="301"/>
                    <a:pt x="532" y="301"/>
                    <a:pt x="532" y="301"/>
                  </a:cubicBezTo>
                  <a:cubicBezTo>
                    <a:pt x="526" y="295"/>
                    <a:pt x="520" y="290"/>
                    <a:pt x="514" y="284"/>
                  </a:cubicBezTo>
                  <a:cubicBezTo>
                    <a:pt x="502" y="273"/>
                    <a:pt x="490" y="261"/>
                    <a:pt x="477" y="250"/>
                  </a:cubicBezTo>
                  <a:cubicBezTo>
                    <a:pt x="453" y="227"/>
                    <a:pt x="428" y="204"/>
                    <a:pt x="404" y="181"/>
                  </a:cubicBezTo>
                  <a:cubicBezTo>
                    <a:pt x="392" y="170"/>
                    <a:pt x="380" y="159"/>
                    <a:pt x="368" y="148"/>
                  </a:cubicBezTo>
                  <a:cubicBezTo>
                    <a:pt x="362" y="142"/>
                    <a:pt x="356" y="136"/>
                    <a:pt x="350" y="131"/>
                  </a:cubicBezTo>
                  <a:cubicBezTo>
                    <a:pt x="347" y="128"/>
                    <a:pt x="344" y="125"/>
                    <a:pt x="341" y="123"/>
                  </a:cubicBezTo>
                  <a:cubicBezTo>
                    <a:pt x="339" y="121"/>
                    <a:pt x="336" y="118"/>
                    <a:pt x="334" y="116"/>
                  </a:cubicBezTo>
                  <a:cubicBezTo>
                    <a:pt x="313" y="99"/>
                    <a:pt x="290" y="88"/>
                    <a:pt x="266" y="81"/>
                  </a:cubicBezTo>
                  <a:cubicBezTo>
                    <a:pt x="254" y="78"/>
                    <a:pt x="242" y="76"/>
                    <a:pt x="231" y="75"/>
                  </a:cubicBezTo>
                  <a:cubicBezTo>
                    <a:pt x="225" y="74"/>
                    <a:pt x="220" y="74"/>
                    <a:pt x="212" y="74"/>
                  </a:cubicBezTo>
                  <a:cubicBezTo>
                    <a:pt x="206" y="74"/>
                    <a:pt x="199" y="74"/>
                    <a:pt x="192" y="74"/>
                  </a:cubicBezTo>
                  <a:cubicBezTo>
                    <a:pt x="155" y="74"/>
                    <a:pt x="80" y="74"/>
                    <a:pt x="79" y="74"/>
                  </a:cubicBezTo>
                  <a:cubicBezTo>
                    <a:pt x="78" y="74"/>
                    <a:pt x="77" y="74"/>
                    <a:pt x="77" y="76"/>
                  </a:cubicBezTo>
                  <a:cubicBezTo>
                    <a:pt x="77" y="78"/>
                    <a:pt x="77" y="402"/>
                    <a:pt x="77" y="568"/>
                  </a:cubicBezTo>
                  <a:cubicBezTo>
                    <a:pt x="76" y="611"/>
                    <a:pt x="76" y="654"/>
                    <a:pt x="76" y="698"/>
                  </a:cubicBezTo>
                  <a:cubicBezTo>
                    <a:pt x="76" y="719"/>
                    <a:pt x="76" y="740"/>
                    <a:pt x="76" y="761"/>
                  </a:cubicBezTo>
                  <a:cubicBezTo>
                    <a:pt x="77" y="773"/>
                    <a:pt x="82" y="786"/>
                    <a:pt x="92" y="798"/>
                  </a:cubicBezTo>
                  <a:cubicBezTo>
                    <a:pt x="111" y="823"/>
                    <a:pt x="145" y="841"/>
                    <a:pt x="177" y="844"/>
                  </a:cubicBezTo>
                  <a:cubicBezTo>
                    <a:pt x="179" y="845"/>
                    <a:pt x="181" y="845"/>
                    <a:pt x="183" y="845"/>
                  </a:cubicBezTo>
                  <a:cubicBezTo>
                    <a:pt x="184" y="845"/>
                    <a:pt x="185" y="845"/>
                    <a:pt x="186" y="845"/>
                  </a:cubicBezTo>
                  <a:cubicBezTo>
                    <a:pt x="190" y="845"/>
                    <a:pt x="190" y="845"/>
                    <a:pt x="190" y="845"/>
                  </a:cubicBezTo>
                  <a:cubicBezTo>
                    <a:pt x="206" y="845"/>
                    <a:pt x="206" y="845"/>
                    <a:pt x="206" y="845"/>
                  </a:cubicBezTo>
                  <a:cubicBezTo>
                    <a:pt x="211" y="845"/>
                    <a:pt x="216" y="845"/>
                    <a:pt x="221" y="845"/>
                  </a:cubicBezTo>
                  <a:cubicBezTo>
                    <a:pt x="228" y="844"/>
                    <a:pt x="228" y="844"/>
                    <a:pt x="228" y="844"/>
                  </a:cubicBezTo>
                  <a:cubicBezTo>
                    <a:pt x="230" y="844"/>
                    <a:pt x="229" y="844"/>
                    <a:pt x="230" y="844"/>
                  </a:cubicBezTo>
                  <a:cubicBezTo>
                    <a:pt x="230" y="844"/>
                    <a:pt x="230" y="844"/>
                    <a:pt x="230" y="844"/>
                  </a:cubicBezTo>
                  <a:cubicBezTo>
                    <a:pt x="230" y="844"/>
                    <a:pt x="231" y="844"/>
                    <a:pt x="231" y="844"/>
                  </a:cubicBezTo>
                  <a:cubicBezTo>
                    <a:pt x="231" y="844"/>
                    <a:pt x="231" y="843"/>
                    <a:pt x="231" y="843"/>
                  </a:cubicBezTo>
                  <a:cubicBezTo>
                    <a:pt x="231" y="843"/>
                    <a:pt x="231" y="843"/>
                    <a:pt x="231" y="843"/>
                  </a:cubicBezTo>
                  <a:cubicBezTo>
                    <a:pt x="231" y="843"/>
                    <a:pt x="231" y="843"/>
                    <a:pt x="231" y="843"/>
                  </a:cubicBezTo>
                  <a:cubicBezTo>
                    <a:pt x="231" y="842"/>
                    <a:pt x="231" y="842"/>
                    <a:pt x="231" y="842"/>
                  </a:cubicBezTo>
                  <a:cubicBezTo>
                    <a:pt x="231" y="838"/>
                    <a:pt x="231" y="838"/>
                    <a:pt x="231" y="838"/>
                  </a:cubicBezTo>
                  <a:cubicBezTo>
                    <a:pt x="231" y="794"/>
                    <a:pt x="232" y="751"/>
                    <a:pt x="232" y="708"/>
                  </a:cubicBezTo>
                  <a:cubicBezTo>
                    <a:pt x="232" y="686"/>
                    <a:pt x="232" y="664"/>
                    <a:pt x="232" y="643"/>
                  </a:cubicBezTo>
                  <a:cubicBezTo>
                    <a:pt x="232" y="610"/>
                    <a:pt x="232" y="610"/>
                    <a:pt x="232" y="610"/>
                  </a:cubicBezTo>
                  <a:cubicBezTo>
                    <a:pt x="232" y="605"/>
                    <a:pt x="232" y="605"/>
                    <a:pt x="232" y="605"/>
                  </a:cubicBezTo>
                  <a:cubicBezTo>
                    <a:pt x="232" y="604"/>
                    <a:pt x="232" y="602"/>
                    <a:pt x="232" y="600"/>
                  </a:cubicBezTo>
                  <a:cubicBezTo>
                    <a:pt x="232" y="596"/>
                    <a:pt x="233" y="593"/>
                    <a:pt x="233" y="589"/>
                  </a:cubicBezTo>
                  <a:cubicBezTo>
                    <a:pt x="234" y="582"/>
                    <a:pt x="236" y="575"/>
                    <a:pt x="238" y="569"/>
                  </a:cubicBezTo>
                  <a:cubicBezTo>
                    <a:pt x="245" y="541"/>
                    <a:pt x="260" y="516"/>
                    <a:pt x="280" y="497"/>
                  </a:cubicBezTo>
                  <a:cubicBezTo>
                    <a:pt x="301" y="478"/>
                    <a:pt x="327" y="464"/>
                    <a:pt x="354" y="458"/>
                  </a:cubicBezTo>
                  <a:cubicBezTo>
                    <a:pt x="361" y="456"/>
                    <a:pt x="368" y="456"/>
                    <a:pt x="375" y="455"/>
                  </a:cubicBezTo>
                  <a:cubicBezTo>
                    <a:pt x="379" y="455"/>
                    <a:pt x="383" y="455"/>
                    <a:pt x="386" y="455"/>
                  </a:cubicBezTo>
                  <a:cubicBezTo>
                    <a:pt x="389" y="455"/>
                    <a:pt x="392" y="455"/>
                    <a:pt x="395" y="455"/>
                  </a:cubicBezTo>
                  <a:cubicBezTo>
                    <a:pt x="408" y="456"/>
                    <a:pt x="421" y="457"/>
                    <a:pt x="433" y="460"/>
                  </a:cubicBezTo>
                  <a:cubicBezTo>
                    <a:pt x="457" y="464"/>
                    <a:pt x="481" y="473"/>
                    <a:pt x="502" y="484"/>
                  </a:cubicBezTo>
                  <a:cubicBezTo>
                    <a:pt x="524" y="495"/>
                    <a:pt x="544" y="507"/>
                    <a:pt x="562" y="521"/>
                  </a:cubicBezTo>
                  <a:cubicBezTo>
                    <a:pt x="580" y="535"/>
                    <a:pt x="597" y="549"/>
                    <a:pt x="614" y="564"/>
                  </a:cubicBezTo>
                  <a:cubicBezTo>
                    <a:pt x="630" y="579"/>
                    <a:pt x="645" y="594"/>
                    <a:pt x="661" y="608"/>
                  </a:cubicBezTo>
                  <a:cubicBezTo>
                    <a:pt x="668" y="615"/>
                    <a:pt x="676" y="622"/>
                    <a:pt x="683" y="629"/>
                  </a:cubicBezTo>
                  <a:cubicBezTo>
                    <a:pt x="691" y="636"/>
                    <a:pt x="699" y="643"/>
                    <a:pt x="707" y="650"/>
                  </a:cubicBezTo>
                  <a:cubicBezTo>
                    <a:pt x="739" y="679"/>
                    <a:pt x="769" y="708"/>
                    <a:pt x="800" y="733"/>
                  </a:cubicBezTo>
                  <a:cubicBezTo>
                    <a:pt x="830" y="758"/>
                    <a:pt x="862" y="779"/>
                    <a:pt x="894" y="787"/>
                  </a:cubicBezTo>
                  <a:cubicBezTo>
                    <a:pt x="916" y="793"/>
                    <a:pt x="939" y="793"/>
                    <a:pt x="964" y="785"/>
                  </a:cubicBezTo>
                  <a:cubicBezTo>
                    <a:pt x="988" y="776"/>
                    <a:pt x="1014" y="761"/>
                    <a:pt x="1039" y="741"/>
                  </a:cubicBezTo>
                  <a:cubicBezTo>
                    <a:pt x="1064" y="722"/>
                    <a:pt x="1089" y="699"/>
                    <a:pt x="1115" y="676"/>
                  </a:cubicBezTo>
                  <a:cubicBezTo>
                    <a:pt x="1128" y="664"/>
                    <a:pt x="1142" y="652"/>
                    <a:pt x="1155" y="641"/>
                  </a:cubicBezTo>
                  <a:cubicBezTo>
                    <a:pt x="1165" y="632"/>
                    <a:pt x="1165" y="632"/>
                    <a:pt x="1165" y="632"/>
                  </a:cubicBezTo>
                  <a:cubicBezTo>
                    <a:pt x="1174" y="623"/>
                    <a:pt x="1174" y="623"/>
                    <a:pt x="1174" y="623"/>
                  </a:cubicBezTo>
                  <a:cubicBezTo>
                    <a:pt x="1181" y="617"/>
                    <a:pt x="1187" y="612"/>
                    <a:pt x="1194" y="606"/>
                  </a:cubicBezTo>
                  <a:cubicBezTo>
                    <a:pt x="1219" y="582"/>
                    <a:pt x="1246" y="557"/>
                    <a:pt x="1274" y="535"/>
                  </a:cubicBezTo>
                  <a:cubicBezTo>
                    <a:pt x="1302" y="513"/>
                    <a:pt x="1333" y="493"/>
                    <a:pt x="1367" y="480"/>
                  </a:cubicBezTo>
                  <a:cubicBezTo>
                    <a:pt x="1383" y="473"/>
                    <a:pt x="1401" y="468"/>
                    <a:pt x="1418" y="465"/>
                  </a:cubicBezTo>
                  <a:cubicBezTo>
                    <a:pt x="1426" y="464"/>
                    <a:pt x="1435" y="463"/>
                    <a:pt x="1444" y="462"/>
                  </a:cubicBezTo>
                  <a:cubicBezTo>
                    <a:pt x="1452" y="462"/>
                    <a:pt x="1460" y="461"/>
                    <a:pt x="1470" y="462"/>
                  </a:cubicBezTo>
                  <a:cubicBezTo>
                    <a:pt x="1488" y="463"/>
                    <a:pt x="1505" y="468"/>
                    <a:pt x="1521" y="475"/>
                  </a:cubicBezTo>
                  <a:cubicBezTo>
                    <a:pt x="1536" y="482"/>
                    <a:pt x="1549" y="492"/>
                    <a:pt x="1560" y="503"/>
                  </a:cubicBezTo>
                  <a:cubicBezTo>
                    <a:pt x="1584" y="525"/>
                    <a:pt x="1600" y="556"/>
                    <a:pt x="1604" y="589"/>
                  </a:cubicBezTo>
                  <a:cubicBezTo>
                    <a:pt x="1605" y="593"/>
                    <a:pt x="1605" y="597"/>
                    <a:pt x="1605" y="601"/>
                  </a:cubicBezTo>
                  <a:cubicBezTo>
                    <a:pt x="1605" y="603"/>
                    <a:pt x="1606" y="605"/>
                    <a:pt x="1606" y="607"/>
                  </a:cubicBezTo>
                  <a:cubicBezTo>
                    <a:pt x="1606" y="612"/>
                    <a:pt x="1606" y="612"/>
                    <a:pt x="1606" y="612"/>
                  </a:cubicBezTo>
                  <a:cubicBezTo>
                    <a:pt x="1605" y="619"/>
                    <a:pt x="1605" y="625"/>
                    <a:pt x="1605" y="632"/>
                  </a:cubicBezTo>
                  <a:cubicBezTo>
                    <a:pt x="1605" y="645"/>
                    <a:pt x="1605" y="658"/>
                    <a:pt x="1605" y="670"/>
                  </a:cubicBezTo>
                  <a:cubicBezTo>
                    <a:pt x="1605" y="696"/>
                    <a:pt x="1605" y="722"/>
                    <a:pt x="1605" y="747"/>
                  </a:cubicBezTo>
                  <a:cubicBezTo>
                    <a:pt x="1605" y="756"/>
                    <a:pt x="1605" y="756"/>
                    <a:pt x="1605" y="756"/>
                  </a:cubicBezTo>
                  <a:cubicBezTo>
                    <a:pt x="1605" y="760"/>
                    <a:pt x="1605" y="760"/>
                    <a:pt x="1605" y="760"/>
                  </a:cubicBezTo>
                  <a:cubicBezTo>
                    <a:pt x="1605" y="761"/>
                    <a:pt x="1605" y="762"/>
                    <a:pt x="1605" y="763"/>
                  </a:cubicBezTo>
                  <a:cubicBezTo>
                    <a:pt x="1605" y="768"/>
                    <a:pt x="1606" y="772"/>
                    <a:pt x="1607" y="776"/>
                  </a:cubicBezTo>
                  <a:cubicBezTo>
                    <a:pt x="1610" y="785"/>
                    <a:pt x="1614" y="793"/>
                    <a:pt x="1620" y="801"/>
                  </a:cubicBezTo>
                  <a:cubicBezTo>
                    <a:pt x="1631" y="817"/>
                    <a:pt x="1648" y="830"/>
                    <a:pt x="1666" y="840"/>
                  </a:cubicBezTo>
                  <a:cubicBezTo>
                    <a:pt x="1685" y="850"/>
                    <a:pt x="1705" y="856"/>
                    <a:pt x="1724" y="857"/>
                  </a:cubicBezTo>
                  <a:cubicBezTo>
                    <a:pt x="1725" y="857"/>
                    <a:pt x="1726" y="857"/>
                    <a:pt x="1727" y="857"/>
                  </a:cubicBezTo>
                  <a:cubicBezTo>
                    <a:pt x="1731" y="857"/>
                    <a:pt x="1731" y="857"/>
                    <a:pt x="1731" y="857"/>
                  </a:cubicBezTo>
                  <a:cubicBezTo>
                    <a:pt x="1740" y="857"/>
                    <a:pt x="1740" y="857"/>
                    <a:pt x="1740" y="857"/>
                  </a:cubicBezTo>
                  <a:cubicBezTo>
                    <a:pt x="1745" y="857"/>
                    <a:pt x="1751" y="857"/>
                    <a:pt x="1757" y="857"/>
                  </a:cubicBezTo>
                  <a:cubicBezTo>
                    <a:pt x="1765" y="857"/>
                    <a:pt x="1765" y="857"/>
                    <a:pt x="1765" y="857"/>
                  </a:cubicBezTo>
                  <a:cubicBezTo>
                    <a:pt x="1771" y="856"/>
                    <a:pt x="1771" y="856"/>
                    <a:pt x="1771" y="856"/>
                  </a:cubicBezTo>
                  <a:cubicBezTo>
                    <a:pt x="1773" y="856"/>
                    <a:pt x="1775" y="856"/>
                    <a:pt x="1777" y="856"/>
                  </a:cubicBezTo>
                  <a:cubicBezTo>
                    <a:pt x="1778" y="856"/>
                    <a:pt x="1779" y="856"/>
                    <a:pt x="1780" y="855"/>
                  </a:cubicBezTo>
                  <a:cubicBezTo>
                    <a:pt x="1781" y="855"/>
                    <a:pt x="1782" y="854"/>
                    <a:pt x="1783" y="853"/>
                  </a:cubicBezTo>
                  <a:cubicBezTo>
                    <a:pt x="1784" y="851"/>
                    <a:pt x="1784" y="849"/>
                    <a:pt x="1784" y="847"/>
                  </a:cubicBezTo>
                  <a:cubicBezTo>
                    <a:pt x="1784" y="844"/>
                    <a:pt x="1784" y="844"/>
                    <a:pt x="1784" y="844"/>
                  </a:cubicBezTo>
                  <a:cubicBezTo>
                    <a:pt x="1784" y="838"/>
                    <a:pt x="1784" y="838"/>
                    <a:pt x="1784" y="838"/>
                  </a:cubicBezTo>
                  <a:cubicBezTo>
                    <a:pt x="1784" y="832"/>
                    <a:pt x="1784" y="827"/>
                    <a:pt x="1784" y="821"/>
                  </a:cubicBezTo>
                  <a:cubicBezTo>
                    <a:pt x="1785" y="643"/>
                    <a:pt x="1782" y="182"/>
                    <a:pt x="1783" y="173"/>
                  </a:cubicBezTo>
                  <a:cubicBezTo>
                    <a:pt x="1783" y="164"/>
                    <a:pt x="1784" y="155"/>
                    <a:pt x="1782" y="148"/>
                  </a:cubicBezTo>
                  <a:cubicBezTo>
                    <a:pt x="1781" y="140"/>
                    <a:pt x="1778" y="129"/>
                    <a:pt x="1772" y="115"/>
                  </a:cubicBezTo>
                  <a:cubicBezTo>
                    <a:pt x="1766" y="102"/>
                    <a:pt x="1755" y="87"/>
                    <a:pt x="1738" y="74"/>
                  </a:cubicBezTo>
                  <a:cubicBezTo>
                    <a:pt x="1721" y="62"/>
                    <a:pt x="1698" y="53"/>
                    <a:pt x="1671" y="53"/>
                  </a:cubicBezTo>
                  <a:close/>
                  <a:moveTo>
                    <a:pt x="1823" y="846"/>
                  </a:moveTo>
                  <a:cubicBezTo>
                    <a:pt x="1822" y="821"/>
                    <a:pt x="1821" y="797"/>
                    <a:pt x="1820" y="770"/>
                  </a:cubicBezTo>
                  <a:cubicBezTo>
                    <a:pt x="1817" y="681"/>
                    <a:pt x="1814" y="523"/>
                    <a:pt x="1811" y="454"/>
                  </a:cubicBezTo>
                  <a:cubicBezTo>
                    <a:pt x="1809" y="416"/>
                    <a:pt x="1808" y="395"/>
                    <a:pt x="1806" y="431"/>
                  </a:cubicBezTo>
                  <a:cubicBezTo>
                    <a:pt x="1806" y="444"/>
                    <a:pt x="1805" y="453"/>
                    <a:pt x="1805" y="467"/>
                  </a:cubicBezTo>
                  <a:cubicBezTo>
                    <a:pt x="1802" y="506"/>
                    <a:pt x="1801" y="607"/>
                    <a:pt x="1799" y="659"/>
                  </a:cubicBezTo>
                  <a:cubicBezTo>
                    <a:pt x="1799" y="662"/>
                    <a:pt x="1799" y="664"/>
                    <a:pt x="1799" y="667"/>
                  </a:cubicBezTo>
                  <a:cubicBezTo>
                    <a:pt x="1798" y="691"/>
                    <a:pt x="1797" y="715"/>
                    <a:pt x="1796" y="742"/>
                  </a:cubicBezTo>
                  <a:cubicBezTo>
                    <a:pt x="1796" y="747"/>
                    <a:pt x="1796" y="752"/>
                    <a:pt x="1796" y="757"/>
                  </a:cubicBezTo>
                  <a:cubicBezTo>
                    <a:pt x="1796" y="774"/>
                    <a:pt x="1795" y="792"/>
                    <a:pt x="1795" y="810"/>
                  </a:cubicBezTo>
                  <a:cubicBezTo>
                    <a:pt x="1795" y="819"/>
                    <a:pt x="1794" y="829"/>
                    <a:pt x="1794" y="838"/>
                  </a:cubicBezTo>
                  <a:cubicBezTo>
                    <a:pt x="1794" y="840"/>
                    <a:pt x="1794" y="842"/>
                    <a:pt x="1794" y="844"/>
                  </a:cubicBezTo>
                  <a:cubicBezTo>
                    <a:pt x="1794" y="846"/>
                    <a:pt x="1794" y="847"/>
                    <a:pt x="1794" y="849"/>
                  </a:cubicBezTo>
                  <a:cubicBezTo>
                    <a:pt x="1794" y="852"/>
                    <a:pt x="1794" y="855"/>
                    <a:pt x="1793" y="858"/>
                  </a:cubicBezTo>
                  <a:cubicBezTo>
                    <a:pt x="1792" y="860"/>
                    <a:pt x="1791" y="862"/>
                    <a:pt x="1789" y="864"/>
                  </a:cubicBezTo>
                  <a:cubicBezTo>
                    <a:pt x="1787" y="865"/>
                    <a:pt x="1784" y="865"/>
                    <a:pt x="1782" y="865"/>
                  </a:cubicBezTo>
                  <a:cubicBezTo>
                    <a:pt x="1780" y="865"/>
                    <a:pt x="1777" y="866"/>
                    <a:pt x="1775" y="866"/>
                  </a:cubicBezTo>
                  <a:cubicBezTo>
                    <a:pt x="1772" y="866"/>
                    <a:pt x="1769" y="866"/>
                    <a:pt x="1766" y="866"/>
                  </a:cubicBezTo>
                  <a:cubicBezTo>
                    <a:pt x="1758" y="866"/>
                    <a:pt x="1750" y="866"/>
                    <a:pt x="1741" y="866"/>
                  </a:cubicBezTo>
                  <a:cubicBezTo>
                    <a:pt x="1737" y="866"/>
                    <a:pt x="1733" y="866"/>
                    <a:pt x="1729" y="866"/>
                  </a:cubicBezTo>
                  <a:cubicBezTo>
                    <a:pt x="1725" y="866"/>
                    <a:pt x="1721" y="865"/>
                    <a:pt x="1717" y="865"/>
                  </a:cubicBezTo>
                  <a:cubicBezTo>
                    <a:pt x="1702" y="863"/>
                    <a:pt x="1686" y="858"/>
                    <a:pt x="1670" y="851"/>
                  </a:cubicBezTo>
                  <a:cubicBezTo>
                    <a:pt x="1655" y="843"/>
                    <a:pt x="1640" y="833"/>
                    <a:pt x="1627" y="820"/>
                  </a:cubicBezTo>
                  <a:cubicBezTo>
                    <a:pt x="1614" y="807"/>
                    <a:pt x="1604" y="791"/>
                    <a:pt x="1600" y="774"/>
                  </a:cubicBezTo>
                  <a:cubicBezTo>
                    <a:pt x="1599" y="770"/>
                    <a:pt x="1599" y="765"/>
                    <a:pt x="1599" y="761"/>
                  </a:cubicBezTo>
                  <a:cubicBezTo>
                    <a:pt x="1599" y="760"/>
                    <a:pt x="1599" y="759"/>
                    <a:pt x="1599" y="758"/>
                  </a:cubicBezTo>
                  <a:cubicBezTo>
                    <a:pt x="1599" y="753"/>
                    <a:pt x="1599" y="753"/>
                    <a:pt x="1599" y="753"/>
                  </a:cubicBezTo>
                  <a:cubicBezTo>
                    <a:pt x="1599" y="750"/>
                    <a:pt x="1599" y="747"/>
                    <a:pt x="1599" y="744"/>
                  </a:cubicBezTo>
                  <a:cubicBezTo>
                    <a:pt x="1599" y="733"/>
                    <a:pt x="1599" y="721"/>
                    <a:pt x="1600" y="708"/>
                  </a:cubicBezTo>
                  <a:cubicBezTo>
                    <a:pt x="1600" y="684"/>
                    <a:pt x="1600" y="659"/>
                    <a:pt x="1601" y="633"/>
                  </a:cubicBezTo>
                  <a:cubicBezTo>
                    <a:pt x="1601" y="627"/>
                    <a:pt x="1601" y="620"/>
                    <a:pt x="1601" y="614"/>
                  </a:cubicBezTo>
                  <a:cubicBezTo>
                    <a:pt x="1601" y="609"/>
                    <a:pt x="1601" y="609"/>
                    <a:pt x="1601" y="609"/>
                  </a:cubicBezTo>
                  <a:cubicBezTo>
                    <a:pt x="1601" y="607"/>
                    <a:pt x="1601" y="605"/>
                    <a:pt x="1601" y="603"/>
                  </a:cubicBezTo>
                  <a:cubicBezTo>
                    <a:pt x="1601" y="599"/>
                    <a:pt x="1601" y="595"/>
                    <a:pt x="1600" y="591"/>
                  </a:cubicBezTo>
                  <a:cubicBezTo>
                    <a:pt x="1598" y="575"/>
                    <a:pt x="1594" y="560"/>
                    <a:pt x="1587" y="545"/>
                  </a:cubicBezTo>
                  <a:cubicBezTo>
                    <a:pt x="1576" y="523"/>
                    <a:pt x="1558" y="503"/>
                    <a:pt x="1536" y="488"/>
                  </a:cubicBezTo>
                  <a:cubicBezTo>
                    <a:pt x="1525" y="481"/>
                    <a:pt x="1513" y="475"/>
                    <a:pt x="1500" y="471"/>
                  </a:cubicBezTo>
                  <a:cubicBezTo>
                    <a:pt x="1487" y="467"/>
                    <a:pt x="1473" y="465"/>
                    <a:pt x="1460" y="465"/>
                  </a:cubicBezTo>
                  <a:cubicBezTo>
                    <a:pt x="1434" y="465"/>
                    <a:pt x="1408" y="469"/>
                    <a:pt x="1383" y="477"/>
                  </a:cubicBezTo>
                  <a:cubicBezTo>
                    <a:pt x="1357" y="485"/>
                    <a:pt x="1334" y="498"/>
                    <a:pt x="1311" y="512"/>
                  </a:cubicBezTo>
                  <a:cubicBezTo>
                    <a:pt x="1266" y="541"/>
                    <a:pt x="1227" y="578"/>
                    <a:pt x="1188" y="614"/>
                  </a:cubicBezTo>
                  <a:cubicBezTo>
                    <a:pt x="1178" y="623"/>
                    <a:pt x="1168" y="632"/>
                    <a:pt x="1158" y="641"/>
                  </a:cubicBezTo>
                  <a:cubicBezTo>
                    <a:pt x="1148" y="650"/>
                    <a:pt x="1137" y="659"/>
                    <a:pt x="1127" y="669"/>
                  </a:cubicBezTo>
                  <a:cubicBezTo>
                    <a:pt x="1106" y="688"/>
                    <a:pt x="1085" y="707"/>
                    <a:pt x="1063" y="725"/>
                  </a:cubicBezTo>
                  <a:cubicBezTo>
                    <a:pt x="1046" y="739"/>
                    <a:pt x="1029" y="753"/>
                    <a:pt x="1011" y="764"/>
                  </a:cubicBezTo>
                  <a:cubicBezTo>
                    <a:pt x="993" y="776"/>
                    <a:pt x="974" y="785"/>
                    <a:pt x="956" y="790"/>
                  </a:cubicBezTo>
                  <a:cubicBezTo>
                    <a:pt x="937" y="795"/>
                    <a:pt x="918" y="796"/>
                    <a:pt x="900" y="792"/>
                  </a:cubicBezTo>
                  <a:cubicBezTo>
                    <a:pt x="881" y="788"/>
                    <a:pt x="863" y="780"/>
                    <a:pt x="845" y="769"/>
                  </a:cubicBezTo>
                  <a:cubicBezTo>
                    <a:pt x="826" y="758"/>
                    <a:pt x="809" y="745"/>
                    <a:pt x="791" y="731"/>
                  </a:cubicBezTo>
                  <a:cubicBezTo>
                    <a:pt x="774" y="716"/>
                    <a:pt x="757" y="701"/>
                    <a:pt x="739" y="685"/>
                  </a:cubicBezTo>
                  <a:cubicBezTo>
                    <a:pt x="722" y="669"/>
                    <a:pt x="705" y="653"/>
                    <a:pt x="687" y="637"/>
                  </a:cubicBezTo>
                  <a:cubicBezTo>
                    <a:pt x="670" y="622"/>
                    <a:pt x="653" y="606"/>
                    <a:pt x="636" y="589"/>
                  </a:cubicBezTo>
                  <a:cubicBezTo>
                    <a:pt x="601" y="557"/>
                    <a:pt x="564" y="523"/>
                    <a:pt x="519" y="497"/>
                  </a:cubicBezTo>
                  <a:cubicBezTo>
                    <a:pt x="497" y="485"/>
                    <a:pt x="473" y="474"/>
                    <a:pt x="447" y="467"/>
                  </a:cubicBezTo>
                  <a:cubicBezTo>
                    <a:pt x="434" y="463"/>
                    <a:pt x="420" y="461"/>
                    <a:pt x="407" y="460"/>
                  </a:cubicBezTo>
                  <a:cubicBezTo>
                    <a:pt x="400" y="459"/>
                    <a:pt x="393" y="459"/>
                    <a:pt x="386" y="459"/>
                  </a:cubicBezTo>
                  <a:cubicBezTo>
                    <a:pt x="379" y="459"/>
                    <a:pt x="372" y="459"/>
                    <a:pt x="364" y="460"/>
                  </a:cubicBezTo>
                  <a:cubicBezTo>
                    <a:pt x="334" y="465"/>
                    <a:pt x="306" y="478"/>
                    <a:pt x="285" y="499"/>
                  </a:cubicBezTo>
                  <a:cubicBezTo>
                    <a:pt x="263" y="519"/>
                    <a:pt x="247" y="546"/>
                    <a:pt x="240" y="575"/>
                  </a:cubicBezTo>
                  <a:cubicBezTo>
                    <a:pt x="239" y="582"/>
                    <a:pt x="237" y="589"/>
                    <a:pt x="237" y="597"/>
                  </a:cubicBezTo>
                  <a:cubicBezTo>
                    <a:pt x="236" y="600"/>
                    <a:pt x="236" y="604"/>
                    <a:pt x="236" y="608"/>
                  </a:cubicBezTo>
                  <a:cubicBezTo>
                    <a:pt x="236" y="617"/>
                    <a:pt x="236" y="617"/>
                    <a:pt x="236" y="617"/>
                  </a:cubicBezTo>
                  <a:cubicBezTo>
                    <a:pt x="236" y="628"/>
                    <a:pt x="236" y="640"/>
                    <a:pt x="236" y="652"/>
                  </a:cubicBezTo>
                  <a:cubicBezTo>
                    <a:pt x="236" y="675"/>
                    <a:pt x="236" y="698"/>
                    <a:pt x="236" y="721"/>
                  </a:cubicBezTo>
                  <a:cubicBezTo>
                    <a:pt x="236" y="793"/>
                    <a:pt x="236" y="793"/>
                    <a:pt x="236" y="793"/>
                  </a:cubicBezTo>
                  <a:cubicBezTo>
                    <a:pt x="236" y="829"/>
                    <a:pt x="236" y="829"/>
                    <a:pt x="236" y="829"/>
                  </a:cubicBezTo>
                  <a:cubicBezTo>
                    <a:pt x="236" y="843"/>
                    <a:pt x="236" y="843"/>
                    <a:pt x="236" y="843"/>
                  </a:cubicBezTo>
                  <a:cubicBezTo>
                    <a:pt x="236" y="844"/>
                    <a:pt x="236" y="845"/>
                    <a:pt x="236" y="846"/>
                  </a:cubicBezTo>
                  <a:cubicBezTo>
                    <a:pt x="236" y="847"/>
                    <a:pt x="235" y="848"/>
                    <a:pt x="234" y="848"/>
                  </a:cubicBezTo>
                  <a:cubicBezTo>
                    <a:pt x="233" y="849"/>
                    <a:pt x="232" y="849"/>
                    <a:pt x="231" y="849"/>
                  </a:cubicBezTo>
                  <a:cubicBezTo>
                    <a:pt x="229" y="849"/>
                    <a:pt x="229" y="849"/>
                    <a:pt x="229" y="849"/>
                  </a:cubicBezTo>
                  <a:cubicBezTo>
                    <a:pt x="221" y="849"/>
                    <a:pt x="221" y="849"/>
                    <a:pt x="221" y="849"/>
                  </a:cubicBezTo>
                  <a:cubicBezTo>
                    <a:pt x="215" y="849"/>
                    <a:pt x="210" y="849"/>
                    <a:pt x="204" y="849"/>
                  </a:cubicBezTo>
                  <a:cubicBezTo>
                    <a:pt x="186" y="849"/>
                    <a:pt x="186" y="849"/>
                    <a:pt x="186" y="849"/>
                  </a:cubicBezTo>
                  <a:cubicBezTo>
                    <a:pt x="182" y="849"/>
                    <a:pt x="177" y="849"/>
                    <a:pt x="173" y="848"/>
                  </a:cubicBezTo>
                  <a:cubicBezTo>
                    <a:pt x="163" y="847"/>
                    <a:pt x="154" y="845"/>
                    <a:pt x="145" y="841"/>
                  </a:cubicBezTo>
                  <a:cubicBezTo>
                    <a:pt x="127" y="835"/>
                    <a:pt x="110" y="824"/>
                    <a:pt x="97" y="811"/>
                  </a:cubicBezTo>
                  <a:cubicBezTo>
                    <a:pt x="83" y="797"/>
                    <a:pt x="74" y="782"/>
                    <a:pt x="72" y="767"/>
                  </a:cubicBezTo>
                  <a:cubicBezTo>
                    <a:pt x="72" y="765"/>
                    <a:pt x="72" y="763"/>
                    <a:pt x="72" y="761"/>
                  </a:cubicBezTo>
                  <a:cubicBezTo>
                    <a:pt x="72" y="760"/>
                    <a:pt x="72" y="759"/>
                    <a:pt x="72" y="759"/>
                  </a:cubicBezTo>
                  <a:cubicBezTo>
                    <a:pt x="71" y="754"/>
                    <a:pt x="71" y="754"/>
                    <a:pt x="71" y="754"/>
                  </a:cubicBezTo>
                  <a:cubicBezTo>
                    <a:pt x="72" y="736"/>
                    <a:pt x="72" y="736"/>
                    <a:pt x="72" y="736"/>
                  </a:cubicBezTo>
                  <a:cubicBezTo>
                    <a:pt x="72" y="701"/>
                    <a:pt x="72" y="701"/>
                    <a:pt x="72" y="701"/>
                  </a:cubicBezTo>
                  <a:cubicBezTo>
                    <a:pt x="72" y="677"/>
                    <a:pt x="72" y="653"/>
                    <a:pt x="72" y="629"/>
                  </a:cubicBezTo>
                  <a:cubicBezTo>
                    <a:pt x="72" y="443"/>
                    <a:pt x="72" y="78"/>
                    <a:pt x="72" y="74"/>
                  </a:cubicBezTo>
                  <a:cubicBezTo>
                    <a:pt x="72" y="73"/>
                    <a:pt x="73" y="71"/>
                    <a:pt x="74" y="70"/>
                  </a:cubicBezTo>
                  <a:cubicBezTo>
                    <a:pt x="74" y="70"/>
                    <a:pt x="75" y="69"/>
                    <a:pt x="77" y="69"/>
                  </a:cubicBezTo>
                  <a:cubicBezTo>
                    <a:pt x="78" y="69"/>
                    <a:pt x="82" y="69"/>
                    <a:pt x="87" y="69"/>
                  </a:cubicBezTo>
                  <a:cubicBezTo>
                    <a:pt x="102" y="69"/>
                    <a:pt x="132" y="69"/>
                    <a:pt x="151" y="69"/>
                  </a:cubicBezTo>
                  <a:cubicBezTo>
                    <a:pt x="165" y="69"/>
                    <a:pt x="180" y="69"/>
                    <a:pt x="195" y="69"/>
                  </a:cubicBezTo>
                  <a:cubicBezTo>
                    <a:pt x="217" y="69"/>
                    <a:pt x="217" y="69"/>
                    <a:pt x="217" y="69"/>
                  </a:cubicBezTo>
                  <a:cubicBezTo>
                    <a:pt x="221" y="69"/>
                    <a:pt x="223" y="69"/>
                    <a:pt x="226" y="69"/>
                  </a:cubicBezTo>
                  <a:cubicBezTo>
                    <a:pt x="229" y="70"/>
                    <a:pt x="232" y="70"/>
                    <a:pt x="235" y="70"/>
                  </a:cubicBezTo>
                  <a:cubicBezTo>
                    <a:pt x="260" y="73"/>
                    <a:pt x="284" y="80"/>
                    <a:pt x="306" y="92"/>
                  </a:cubicBezTo>
                  <a:cubicBezTo>
                    <a:pt x="317" y="97"/>
                    <a:pt x="327" y="104"/>
                    <a:pt x="336" y="112"/>
                  </a:cubicBezTo>
                  <a:cubicBezTo>
                    <a:pt x="339" y="114"/>
                    <a:pt x="341" y="116"/>
                    <a:pt x="343" y="118"/>
                  </a:cubicBezTo>
                  <a:cubicBezTo>
                    <a:pt x="351" y="125"/>
                    <a:pt x="351" y="125"/>
                    <a:pt x="351" y="125"/>
                  </a:cubicBezTo>
                  <a:cubicBezTo>
                    <a:pt x="367" y="140"/>
                    <a:pt x="367" y="140"/>
                    <a:pt x="367" y="140"/>
                  </a:cubicBezTo>
                  <a:cubicBezTo>
                    <a:pt x="425" y="195"/>
                    <a:pt x="484" y="250"/>
                    <a:pt x="542" y="303"/>
                  </a:cubicBezTo>
                  <a:cubicBezTo>
                    <a:pt x="543" y="303"/>
                    <a:pt x="543" y="303"/>
                    <a:pt x="543" y="303"/>
                  </a:cubicBezTo>
                  <a:cubicBezTo>
                    <a:pt x="544" y="305"/>
                    <a:pt x="544" y="305"/>
                    <a:pt x="544" y="305"/>
                  </a:cubicBezTo>
                  <a:cubicBezTo>
                    <a:pt x="547" y="308"/>
                    <a:pt x="547" y="308"/>
                    <a:pt x="547" y="308"/>
                  </a:cubicBezTo>
                  <a:cubicBezTo>
                    <a:pt x="552" y="313"/>
                    <a:pt x="552" y="313"/>
                    <a:pt x="552" y="313"/>
                  </a:cubicBezTo>
                  <a:cubicBezTo>
                    <a:pt x="556" y="317"/>
                    <a:pt x="560" y="320"/>
                    <a:pt x="564" y="323"/>
                  </a:cubicBezTo>
                  <a:cubicBezTo>
                    <a:pt x="572" y="330"/>
                    <a:pt x="580" y="337"/>
                    <a:pt x="588" y="343"/>
                  </a:cubicBezTo>
                  <a:cubicBezTo>
                    <a:pt x="604" y="356"/>
                    <a:pt x="621" y="367"/>
                    <a:pt x="639" y="378"/>
                  </a:cubicBezTo>
                  <a:cubicBezTo>
                    <a:pt x="673" y="398"/>
                    <a:pt x="710" y="414"/>
                    <a:pt x="746" y="426"/>
                  </a:cubicBezTo>
                  <a:cubicBezTo>
                    <a:pt x="782" y="438"/>
                    <a:pt x="819" y="445"/>
                    <a:pt x="854" y="449"/>
                  </a:cubicBezTo>
                  <a:cubicBezTo>
                    <a:pt x="889" y="452"/>
                    <a:pt x="922" y="453"/>
                    <a:pt x="954" y="451"/>
                  </a:cubicBezTo>
                  <a:cubicBezTo>
                    <a:pt x="1018" y="446"/>
                    <a:pt x="1073" y="432"/>
                    <a:pt x="1117" y="414"/>
                  </a:cubicBezTo>
                  <a:cubicBezTo>
                    <a:pt x="1157" y="398"/>
                    <a:pt x="1194" y="378"/>
                    <a:pt x="1225" y="355"/>
                  </a:cubicBezTo>
                  <a:cubicBezTo>
                    <a:pt x="1241" y="344"/>
                    <a:pt x="1256" y="332"/>
                    <a:pt x="1270" y="319"/>
                  </a:cubicBezTo>
                  <a:cubicBezTo>
                    <a:pt x="1277" y="313"/>
                    <a:pt x="1284" y="307"/>
                    <a:pt x="1290" y="300"/>
                  </a:cubicBezTo>
                  <a:cubicBezTo>
                    <a:pt x="1297" y="294"/>
                    <a:pt x="1303" y="288"/>
                    <a:pt x="1309" y="282"/>
                  </a:cubicBezTo>
                  <a:cubicBezTo>
                    <a:pt x="1393" y="199"/>
                    <a:pt x="1459" y="134"/>
                    <a:pt x="1489" y="102"/>
                  </a:cubicBezTo>
                  <a:cubicBezTo>
                    <a:pt x="1504" y="87"/>
                    <a:pt x="1516" y="74"/>
                    <a:pt x="1527" y="63"/>
                  </a:cubicBezTo>
                  <a:cubicBezTo>
                    <a:pt x="1528" y="61"/>
                    <a:pt x="1529" y="60"/>
                    <a:pt x="1530" y="59"/>
                  </a:cubicBezTo>
                  <a:cubicBezTo>
                    <a:pt x="1531" y="58"/>
                    <a:pt x="1532" y="57"/>
                    <a:pt x="1533" y="55"/>
                  </a:cubicBezTo>
                  <a:cubicBezTo>
                    <a:pt x="1534" y="55"/>
                    <a:pt x="1534" y="54"/>
                    <a:pt x="1535" y="54"/>
                  </a:cubicBezTo>
                  <a:cubicBezTo>
                    <a:pt x="1535" y="53"/>
                    <a:pt x="1536" y="53"/>
                    <a:pt x="1536" y="53"/>
                  </a:cubicBezTo>
                  <a:cubicBezTo>
                    <a:pt x="1537" y="51"/>
                    <a:pt x="1538" y="50"/>
                    <a:pt x="1539" y="49"/>
                  </a:cubicBezTo>
                  <a:cubicBezTo>
                    <a:pt x="1542" y="48"/>
                    <a:pt x="1544" y="47"/>
                    <a:pt x="1546" y="46"/>
                  </a:cubicBezTo>
                  <a:cubicBezTo>
                    <a:pt x="1548" y="45"/>
                    <a:pt x="1550" y="44"/>
                    <a:pt x="1552" y="43"/>
                  </a:cubicBezTo>
                  <a:cubicBezTo>
                    <a:pt x="1552" y="42"/>
                    <a:pt x="1563" y="37"/>
                    <a:pt x="1565" y="36"/>
                  </a:cubicBezTo>
                  <a:cubicBezTo>
                    <a:pt x="1570" y="33"/>
                    <a:pt x="1570" y="31"/>
                    <a:pt x="1552" y="28"/>
                  </a:cubicBezTo>
                  <a:cubicBezTo>
                    <a:pt x="1551" y="28"/>
                    <a:pt x="1551" y="28"/>
                    <a:pt x="1551" y="28"/>
                  </a:cubicBezTo>
                  <a:cubicBezTo>
                    <a:pt x="1549" y="28"/>
                    <a:pt x="1549" y="28"/>
                    <a:pt x="1549" y="28"/>
                  </a:cubicBezTo>
                  <a:cubicBezTo>
                    <a:pt x="1547" y="29"/>
                    <a:pt x="1544" y="29"/>
                    <a:pt x="1541" y="30"/>
                  </a:cubicBezTo>
                  <a:cubicBezTo>
                    <a:pt x="1540" y="31"/>
                    <a:pt x="1538" y="31"/>
                    <a:pt x="1536" y="32"/>
                  </a:cubicBezTo>
                  <a:cubicBezTo>
                    <a:pt x="1534" y="32"/>
                    <a:pt x="1532" y="33"/>
                    <a:pt x="1529" y="34"/>
                  </a:cubicBezTo>
                  <a:cubicBezTo>
                    <a:pt x="1523" y="39"/>
                    <a:pt x="1516" y="45"/>
                    <a:pt x="1507" y="51"/>
                  </a:cubicBezTo>
                  <a:cubicBezTo>
                    <a:pt x="1499" y="58"/>
                    <a:pt x="1489" y="66"/>
                    <a:pt x="1478" y="75"/>
                  </a:cubicBezTo>
                  <a:cubicBezTo>
                    <a:pt x="1449" y="99"/>
                    <a:pt x="1366" y="175"/>
                    <a:pt x="1260" y="273"/>
                  </a:cubicBezTo>
                  <a:cubicBezTo>
                    <a:pt x="1256" y="276"/>
                    <a:pt x="1253" y="279"/>
                    <a:pt x="1250" y="282"/>
                  </a:cubicBezTo>
                  <a:cubicBezTo>
                    <a:pt x="1247" y="285"/>
                    <a:pt x="1243" y="288"/>
                    <a:pt x="1240" y="290"/>
                  </a:cubicBezTo>
                  <a:cubicBezTo>
                    <a:pt x="1233" y="296"/>
                    <a:pt x="1226" y="302"/>
                    <a:pt x="1219" y="307"/>
                  </a:cubicBezTo>
                  <a:cubicBezTo>
                    <a:pt x="1205" y="318"/>
                    <a:pt x="1189" y="328"/>
                    <a:pt x="1173" y="337"/>
                  </a:cubicBezTo>
                  <a:cubicBezTo>
                    <a:pt x="1140" y="356"/>
                    <a:pt x="1104" y="371"/>
                    <a:pt x="1066" y="382"/>
                  </a:cubicBezTo>
                  <a:cubicBezTo>
                    <a:pt x="991" y="403"/>
                    <a:pt x="908" y="407"/>
                    <a:pt x="831" y="392"/>
                  </a:cubicBezTo>
                  <a:cubicBezTo>
                    <a:pt x="762" y="379"/>
                    <a:pt x="696" y="352"/>
                    <a:pt x="640" y="311"/>
                  </a:cubicBezTo>
                  <a:cubicBezTo>
                    <a:pt x="626" y="301"/>
                    <a:pt x="612" y="290"/>
                    <a:pt x="600" y="278"/>
                  </a:cubicBezTo>
                  <a:cubicBezTo>
                    <a:pt x="597" y="275"/>
                    <a:pt x="593" y="272"/>
                    <a:pt x="590" y="269"/>
                  </a:cubicBezTo>
                  <a:cubicBezTo>
                    <a:pt x="586" y="264"/>
                    <a:pt x="586" y="264"/>
                    <a:pt x="586" y="264"/>
                  </a:cubicBezTo>
                  <a:cubicBezTo>
                    <a:pt x="583" y="262"/>
                    <a:pt x="583" y="262"/>
                    <a:pt x="583" y="262"/>
                  </a:cubicBezTo>
                  <a:cubicBezTo>
                    <a:pt x="580" y="259"/>
                    <a:pt x="580" y="259"/>
                    <a:pt x="580" y="259"/>
                  </a:cubicBezTo>
                  <a:cubicBezTo>
                    <a:pt x="560" y="240"/>
                    <a:pt x="560" y="240"/>
                    <a:pt x="560" y="240"/>
                  </a:cubicBezTo>
                  <a:cubicBezTo>
                    <a:pt x="534" y="215"/>
                    <a:pt x="508" y="190"/>
                    <a:pt x="481" y="164"/>
                  </a:cubicBezTo>
                  <a:cubicBezTo>
                    <a:pt x="454" y="139"/>
                    <a:pt x="428" y="113"/>
                    <a:pt x="401" y="88"/>
                  </a:cubicBezTo>
                  <a:cubicBezTo>
                    <a:pt x="391" y="78"/>
                    <a:pt x="391" y="78"/>
                    <a:pt x="391" y="78"/>
                  </a:cubicBezTo>
                  <a:cubicBezTo>
                    <a:pt x="386" y="73"/>
                    <a:pt x="386" y="73"/>
                    <a:pt x="386" y="73"/>
                  </a:cubicBezTo>
                  <a:cubicBezTo>
                    <a:pt x="384" y="71"/>
                    <a:pt x="382" y="69"/>
                    <a:pt x="380" y="68"/>
                  </a:cubicBezTo>
                  <a:cubicBezTo>
                    <a:pt x="372" y="61"/>
                    <a:pt x="364" y="55"/>
                    <a:pt x="355" y="49"/>
                  </a:cubicBezTo>
                  <a:cubicBezTo>
                    <a:pt x="338" y="37"/>
                    <a:pt x="319" y="27"/>
                    <a:pt x="299" y="20"/>
                  </a:cubicBezTo>
                  <a:cubicBezTo>
                    <a:pt x="279" y="13"/>
                    <a:pt x="258" y="9"/>
                    <a:pt x="237" y="7"/>
                  </a:cubicBezTo>
                  <a:cubicBezTo>
                    <a:pt x="234" y="7"/>
                    <a:pt x="232" y="6"/>
                    <a:pt x="229" y="6"/>
                  </a:cubicBezTo>
                  <a:cubicBezTo>
                    <a:pt x="225" y="6"/>
                    <a:pt x="225" y="6"/>
                    <a:pt x="225" y="6"/>
                  </a:cubicBezTo>
                  <a:cubicBezTo>
                    <a:pt x="221" y="6"/>
                    <a:pt x="221" y="6"/>
                    <a:pt x="221" y="6"/>
                  </a:cubicBezTo>
                  <a:cubicBezTo>
                    <a:pt x="206" y="6"/>
                    <a:pt x="206" y="6"/>
                    <a:pt x="206" y="6"/>
                  </a:cubicBezTo>
                  <a:cubicBezTo>
                    <a:pt x="197" y="6"/>
                    <a:pt x="188" y="6"/>
                    <a:pt x="178" y="6"/>
                  </a:cubicBezTo>
                  <a:cubicBezTo>
                    <a:pt x="136" y="5"/>
                    <a:pt x="91" y="5"/>
                    <a:pt x="50" y="5"/>
                  </a:cubicBezTo>
                  <a:cubicBezTo>
                    <a:pt x="48" y="5"/>
                    <a:pt x="47" y="5"/>
                    <a:pt x="45" y="5"/>
                  </a:cubicBezTo>
                  <a:cubicBezTo>
                    <a:pt x="44" y="5"/>
                    <a:pt x="43" y="5"/>
                    <a:pt x="42" y="5"/>
                  </a:cubicBezTo>
                  <a:cubicBezTo>
                    <a:pt x="9" y="9"/>
                    <a:pt x="7" y="36"/>
                    <a:pt x="7" y="47"/>
                  </a:cubicBezTo>
                  <a:cubicBezTo>
                    <a:pt x="7" y="54"/>
                    <a:pt x="7" y="61"/>
                    <a:pt x="7" y="68"/>
                  </a:cubicBezTo>
                  <a:cubicBezTo>
                    <a:pt x="7" y="95"/>
                    <a:pt x="7" y="138"/>
                    <a:pt x="7" y="167"/>
                  </a:cubicBezTo>
                  <a:cubicBezTo>
                    <a:pt x="6" y="267"/>
                    <a:pt x="6" y="368"/>
                    <a:pt x="5" y="475"/>
                  </a:cubicBezTo>
                  <a:cubicBezTo>
                    <a:pt x="5" y="525"/>
                    <a:pt x="5" y="577"/>
                    <a:pt x="4" y="630"/>
                  </a:cubicBezTo>
                  <a:cubicBezTo>
                    <a:pt x="4" y="657"/>
                    <a:pt x="4" y="683"/>
                    <a:pt x="4" y="710"/>
                  </a:cubicBezTo>
                  <a:cubicBezTo>
                    <a:pt x="4" y="724"/>
                    <a:pt x="4" y="737"/>
                    <a:pt x="4" y="751"/>
                  </a:cubicBezTo>
                  <a:cubicBezTo>
                    <a:pt x="4" y="756"/>
                    <a:pt x="4" y="756"/>
                    <a:pt x="4" y="756"/>
                  </a:cubicBezTo>
                  <a:cubicBezTo>
                    <a:pt x="4" y="759"/>
                    <a:pt x="4" y="759"/>
                    <a:pt x="4" y="759"/>
                  </a:cubicBezTo>
                  <a:cubicBezTo>
                    <a:pt x="4" y="762"/>
                    <a:pt x="4" y="762"/>
                    <a:pt x="4" y="762"/>
                  </a:cubicBezTo>
                  <a:cubicBezTo>
                    <a:pt x="4" y="767"/>
                    <a:pt x="5" y="771"/>
                    <a:pt x="5" y="776"/>
                  </a:cubicBezTo>
                  <a:cubicBezTo>
                    <a:pt x="7" y="785"/>
                    <a:pt x="9" y="794"/>
                    <a:pt x="12" y="803"/>
                  </a:cubicBezTo>
                  <a:cubicBezTo>
                    <a:pt x="19" y="820"/>
                    <a:pt x="28" y="835"/>
                    <a:pt x="39" y="848"/>
                  </a:cubicBezTo>
                  <a:cubicBezTo>
                    <a:pt x="51" y="861"/>
                    <a:pt x="63" y="872"/>
                    <a:pt x="77" y="882"/>
                  </a:cubicBezTo>
                  <a:cubicBezTo>
                    <a:pt x="91" y="891"/>
                    <a:pt x="105" y="898"/>
                    <a:pt x="121" y="904"/>
                  </a:cubicBezTo>
                  <a:cubicBezTo>
                    <a:pt x="136" y="910"/>
                    <a:pt x="153" y="914"/>
                    <a:pt x="170" y="916"/>
                  </a:cubicBezTo>
                  <a:cubicBezTo>
                    <a:pt x="174" y="917"/>
                    <a:pt x="179" y="917"/>
                    <a:pt x="183" y="917"/>
                  </a:cubicBezTo>
                  <a:cubicBezTo>
                    <a:pt x="195" y="917"/>
                    <a:pt x="195" y="917"/>
                    <a:pt x="195" y="917"/>
                  </a:cubicBezTo>
                  <a:cubicBezTo>
                    <a:pt x="202" y="917"/>
                    <a:pt x="209" y="917"/>
                    <a:pt x="216" y="917"/>
                  </a:cubicBezTo>
                  <a:cubicBezTo>
                    <a:pt x="228" y="917"/>
                    <a:pt x="228" y="917"/>
                    <a:pt x="228" y="917"/>
                  </a:cubicBezTo>
                  <a:cubicBezTo>
                    <a:pt x="233" y="916"/>
                    <a:pt x="233" y="916"/>
                    <a:pt x="233" y="916"/>
                  </a:cubicBezTo>
                  <a:cubicBezTo>
                    <a:pt x="238" y="916"/>
                    <a:pt x="238" y="916"/>
                    <a:pt x="238" y="916"/>
                  </a:cubicBezTo>
                  <a:cubicBezTo>
                    <a:pt x="243" y="916"/>
                    <a:pt x="243" y="916"/>
                    <a:pt x="243" y="916"/>
                  </a:cubicBezTo>
                  <a:cubicBezTo>
                    <a:pt x="256" y="914"/>
                    <a:pt x="269" y="913"/>
                    <a:pt x="279" y="906"/>
                  </a:cubicBezTo>
                  <a:cubicBezTo>
                    <a:pt x="284" y="904"/>
                    <a:pt x="289" y="899"/>
                    <a:pt x="293" y="894"/>
                  </a:cubicBezTo>
                  <a:cubicBezTo>
                    <a:pt x="296" y="890"/>
                    <a:pt x="299" y="884"/>
                    <a:pt x="301" y="879"/>
                  </a:cubicBezTo>
                  <a:cubicBezTo>
                    <a:pt x="301" y="876"/>
                    <a:pt x="302" y="873"/>
                    <a:pt x="303" y="870"/>
                  </a:cubicBezTo>
                  <a:cubicBezTo>
                    <a:pt x="303" y="866"/>
                    <a:pt x="303" y="863"/>
                    <a:pt x="303" y="860"/>
                  </a:cubicBezTo>
                  <a:cubicBezTo>
                    <a:pt x="303" y="841"/>
                    <a:pt x="303" y="841"/>
                    <a:pt x="303" y="841"/>
                  </a:cubicBezTo>
                  <a:cubicBezTo>
                    <a:pt x="303" y="827"/>
                    <a:pt x="303" y="813"/>
                    <a:pt x="303" y="799"/>
                  </a:cubicBezTo>
                  <a:cubicBezTo>
                    <a:pt x="303" y="742"/>
                    <a:pt x="303" y="685"/>
                    <a:pt x="303" y="628"/>
                  </a:cubicBezTo>
                  <a:cubicBezTo>
                    <a:pt x="304" y="607"/>
                    <a:pt x="304" y="607"/>
                    <a:pt x="304" y="607"/>
                  </a:cubicBezTo>
                  <a:cubicBezTo>
                    <a:pt x="304" y="602"/>
                    <a:pt x="304" y="597"/>
                    <a:pt x="305" y="592"/>
                  </a:cubicBezTo>
                  <a:cubicBezTo>
                    <a:pt x="307" y="582"/>
                    <a:pt x="311" y="573"/>
                    <a:pt x="317" y="564"/>
                  </a:cubicBezTo>
                  <a:cubicBezTo>
                    <a:pt x="328" y="547"/>
                    <a:pt x="345" y="534"/>
                    <a:pt x="364" y="529"/>
                  </a:cubicBezTo>
                  <a:cubicBezTo>
                    <a:pt x="369" y="527"/>
                    <a:pt x="374" y="526"/>
                    <a:pt x="379" y="526"/>
                  </a:cubicBezTo>
                  <a:cubicBezTo>
                    <a:pt x="381" y="526"/>
                    <a:pt x="383" y="526"/>
                    <a:pt x="386" y="526"/>
                  </a:cubicBezTo>
                  <a:cubicBezTo>
                    <a:pt x="389" y="526"/>
                    <a:pt x="392" y="526"/>
                    <a:pt x="395" y="526"/>
                  </a:cubicBezTo>
                  <a:cubicBezTo>
                    <a:pt x="407" y="526"/>
                    <a:pt x="419" y="528"/>
                    <a:pt x="430" y="531"/>
                  </a:cubicBezTo>
                  <a:cubicBezTo>
                    <a:pt x="454" y="537"/>
                    <a:pt x="476" y="548"/>
                    <a:pt x="498" y="562"/>
                  </a:cubicBezTo>
                  <a:cubicBezTo>
                    <a:pt x="520" y="576"/>
                    <a:pt x="541" y="593"/>
                    <a:pt x="561" y="611"/>
                  </a:cubicBezTo>
                  <a:cubicBezTo>
                    <a:pt x="582" y="628"/>
                    <a:pt x="602" y="648"/>
                    <a:pt x="623" y="667"/>
                  </a:cubicBezTo>
                  <a:cubicBezTo>
                    <a:pt x="633" y="677"/>
                    <a:pt x="644" y="687"/>
                    <a:pt x="654" y="695"/>
                  </a:cubicBezTo>
                  <a:cubicBezTo>
                    <a:pt x="665" y="705"/>
                    <a:pt x="675" y="714"/>
                    <a:pt x="685" y="723"/>
                  </a:cubicBezTo>
                  <a:cubicBezTo>
                    <a:pt x="706" y="742"/>
                    <a:pt x="726" y="761"/>
                    <a:pt x="748" y="779"/>
                  </a:cubicBezTo>
                  <a:cubicBezTo>
                    <a:pt x="770" y="797"/>
                    <a:pt x="794" y="815"/>
                    <a:pt x="820" y="829"/>
                  </a:cubicBezTo>
                  <a:cubicBezTo>
                    <a:pt x="834" y="837"/>
                    <a:pt x="848" y="843"/>
                    <a:pt x="863" y="848"/>
                  </a:cubicBezTo>
                  <a:cubicBezTo>
                    <a:pt x="878" y="853"/>
                    <a:pt x="894" y="856"/>
                    <a:pt x="911" y="857"/>
                  </a:cubicBezTo>
                  <a:cubicBezTo>
                    <a:pt x="927" y="858"/>
                    <a:pt x="943" y="857"/>
                    <a:pt x="959" y="854"/>
                  </a:cubicBezTo>
                  <a:cubicBezTo>
                    <a:pt x="974" y="851"/>
                    <a:pt x="989" y="846"/>
                    <a:pt x="1003" y="840"/>
                  </a:cubicBezTo>
                  <a:cubicBezTo>
                    <a:pt x="1031" y="827"/>
                    <a:pt x="1054" y="811"/>
                    <a:pt x="1076" y="795"/>
                  </a:cubicBezTo>
                  <a:cubicBezTo>
                    <a:pt x="1097" y="778"/>
                    <a:pt x="1117" y="761"/>
                    <a:pt x="1135" y="744"/>
                  </a:cubicBezTo>
                  <a:cubicBezTo>
                    <a:pt x="1154" y="727"/>
                    <a:pt x="1172" y="710"/>
                    <a:pt x="1190" y="694"/>
                  </a:cubicBezTo>
                  <a:cubicBezTo>
                    <a:pt x="1195" y="690"/>
                    <a:pt x="1199" y="686"/>
                    <a:pt x="1203" y="682"/>
                  </a:cubicBezTo>
                  <a:cubicBezTo>
                    <a:pt x="1208" y="678"/>
                    <a:pt x="1213" y="673"/>
                    <a:pt x="1217" y="669"/>
                  </a:cubicBezTo>
                  <a:cubicBezTo>
                    <a:pt x="1226" y="661"/>
                    <a:pt x="1235" y="653"/>
                    <a:pt x="1243" y="644"/>
                  </a:cubicBezTo>
                  <a:cubicBezTo>
                    <a:pt x="1260" y="628"/>
                    <a:pt x="1277" y="613"/>
                    <a:pt x="1294" y="598"/>
                  </a:cubicBezTo>
                  <a:cubicBezTo>
                    <a:pt x="1327" y="569"/>
                    <a:pt x="1361" y="546"/>
                    <a:pt x="1396" y="532"/>
                  </a:cubicBezTo>
                  <a:cubicBezTo>
                    <a:pt x="1414" y="526"/>
                    <a:pt x="1431" y="522"/>
                    <a:pt x="1449" y="520"/>
                  </a:cubicBezTo>
                  <a:cubicBezTo>
                    <a:pt x="1453" y="520"/>
                    <a:pt x="1458" y="520"/>
                    <a:pt x="1462" y="520"/>
                  </a:cubicBezTo>
                  <a:cubicBezTo>
                    <a:pt x="1465" y="520"/>
                    <a:pt x="1469" y="520"/>
                    <a:pt x="1473" y="520"/>
                  </a:cubicBezTo>
                  <a:cubicBezTo>
                    <a:pt x="1480" y="521"/>
                    <a:pt x="1487" y="523"/>
                    <a:pt x="1494" y="526"/>
                  </a:cubicBezTo>
                  <a:cubicBezTo>
                    <a:pt x="1508" y="532"/>
                    <a:pt x="1520" y="541"/>
                    <a:pt x="1529" y="551"/>
                  </a:cubicBezTo>
                  <a:cubicBezTo>
                    <a:pt x="1538" y="562"/>
                    <a:pt x="1544" y="575"/>
                    <a:pt x="1548" y="588"/>
                  </a:cubicBezTo>
                  <a:cubicBezTo>
                    <a:pt x="1550" y="594"/>
                    <a:pt x="1550" y="601"/>
                    <a:pt x="1551" y="607"/>
                  </a:cubicBezTo>
                  <a:cubicBezTo>
                    <a:pt x="1551" y="616"/>
                    <a:pt x="1551" y="624"/>
                    <a:pt x="1551" y="632"/>
                  </a:cubicBezTo>
                  <a:cubicBezTo>
                    <a:pt x="1551" y="649"/>
                    <a:pt x="1552" y="665"/>
                    <a:pt x="1552" y="680"/>
                  </a:cubicBezTo>
                  <a:cubicBezTo>
                    <a:pt x="1552" y="696"/>
                    <a:pt x="1552" y="711"/>
                    <a:pt x="1553" y="726"/>
                  </a:cubicBezTo>
                  <a:cubicBezTo>
                    <a:pt x="1553" y="733"/>
                    <a:pt x="1553" y="741"/>
                    <a:pt x="1553" y="748"/>
                  </a:cubicBezTo>
                  <a:cubicBezTo>
                    <a:pt x="1553" y="751"/>
                    <a:pt x="1553" y="755"/>
                    <a:pt x="1553" y="759"/>
                  </a:cubicBezTo>
                  <a:cubicBezTo>
                    <a:pt x="1553" y="763"/>
                    <a:pt x="1554" y="767"/>
                    <a:pt x="1554" y="772"/>
                  </a:cubicBezTo>
                  <a:cubicBezTo>
                    <a:pt x="1557" y="789"/>
                    <a:pt x="1563" y="804"/>
                    <a:pt x="1570" y="817"/>
                  </a:cubicBezTo>
                  <a:cubicBezTo>
                    <a:pt x="1578" y="830"/>
                    <a:pt x="1587" y="840"/>
                    <a:pt x="1597" y="849"/>
                  </a:cubicBezTo>
                  <a:cubicBezTo>
                    <a:pt x="1615" y="867"/>
                    <a:pt x="1636" y="879"/>
                    <a:pt x="1655" y="887"/>
                  </a:cubicBezTo>
                  <a:cubicBezTo>
                    <a:pt x="1674" y="895"/>
                    <a:pt x="1693" y="899"/>
                    <a:pt x="1711" y="901"/>
                  </a:cubicBezTo>
                  <a:cubicBezTo>
                    <a:pt x="1720" y="902"/>
                    <a:pt x="1730" y="902"/>
                    <a:pt x="1737" y="901"/>
                  </a:cubicBezTo>
                  <a:cubicBezTo>
                    <a:pt x="1745" y="901"/>
                    <a:pt x="1752" y="901"/>
                    <a:pt x="1759" y="900"/>
                  </a:cubicBezTo>
                  <a:cubicBezTo>
                    <a:pt x="1763" y="900"/>
                    <a:pt x="1766" y="899"/>
                    <a:pt x="1770" y="899"/>
                  </a:cubicBezTo>
                  <a:cubicBezTo>
                    <a:pt x="1772" y="899"/>
                    <a:pt x="1774" y="899"/>
                    <a:pt x="1776" y="899"/>
                  </a:cubicBezTo>
                  <a:cubicBezTo>
                    <a:pt x="1778" y="898"/>
                    <a:pt x="1781" y="898"/>
                    <a:pt x="1783" y="898"/>
                  </a:cubicBezTo>
                  <a:cubicBezTo>
                    <a:pt x="1793" y="897"/>
                    <a:pt x="1801" y="895"/>
                    <a:pt x="1809" y="891"/>
                  </a:cubicBezTo>
                  <a:cubicBezTo>
                    <a:pt x="1812" y="889"/>
                    <a:pt x="1815" y="886"/>
                    <a:pt x="1818" y="883"/>
                  </a:cubicBezTo>
                  <a:cubicBezTo>
                    <a:pt x="1820" y="879"/>
                    <a:pt x="1821" y="875"/>
                    <a:pt x="1822" y="871"/>
                  </a:cubicBezTo>
                  <a:cubicBezTo>
                    <a:pt x="1824" y="863"/>
                    <a:pt x="1823" y="855"/>
                    <a:pt x="1823" y="8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 name="Freeform 18">
              <a:extLst>
                <a:ext uri="{FF2B5EF4-FFF2-40B4-BE49-F238E27FC236}">
                  <a16:creationId xmlns:a16="http://schemas.microsoft.com/office/drawing/2014/main" id="{21F40349-FC85-4354-B1B7-7DC91EDAF279}"/>
                </a:ext>
              </a:extLst>
            </p:cNvPr>
            <p:cNvSpPr>
              <a:spLocks noEditPoints="1"/>
            </p:cNvSpPr>
            <p:nvPr>
              <p:custDataLst>
                <p:tags r:id="rId4"/>
              </p:custDataLst>
            </p:nvPr>
          </p:nvSpPr>
          <p:spPr bwMode="gray">
            <a:xfrm>
              <a:off x="2663826" y="1716088"/>
              <a:ext cx="6837363" cy="3429000"/>
            </a:xfrm>
            <a:custGeom>
              <a:avLst/>
              <a:gdLst>
                <a:gd name="T0" fmla="*/ 766 w 1820"/>
                <a:gd name="T1" fmla="*/ 724 h 912"/>
                <a:gd name="T2" fmla="*/ 242 w 1820"/>
                <a:gd name="T3" fmla="*/ 667 h 912"/>
                <a:gd name="T4" fmla="*/ 177 w 1820"/>
                <a:gd name="T5" fmla="*/ 856 h 912"/>
                <a:gd name="T6" fmla="*/ 53 w 1820"/>
                <a:gd name="T7" fmla="*/ 533 h 912"/>
                <a:gd name="T8" fmla="*/ 364 w 1820"/>
                <a:gd name="T9" fmla="*/ 112 h 912"/>
                <a:gd name="T10" fmla="*/ 918 w 1820"/>
                <a:gd name="T11" fmla="*/ 427 h 912"/>
                <a:gd name="T12" fmla="*/ 536 w 1820"/>
                <a:gd name="T13" fmla="*/ 234 h 912"/>
                <a:gd name="T14" fmla="*/ 164 w 1820"/>
                <a:gd name="T15" fmla="*/ 13 h 912"/>
                <a:gd name="T16" fmla="*/ 112 w 1820"/>
                <a:gd name="T17" fmla="*/ 882 h 912"/>
                <a:gd name="T18" fmla="*/ 282 w 1820"/>
                <a:gd name="T19" fmla="*/ 868 h 912"/>
                <a:gd name="T20" fmla="*/ 382 w 1820"/>
                <a:gd name="T21" fmla="*/ 504 h 912"/>
                <a:gd name="T22" fmla="*/ 990 w 1820"/>
                <a:gd name="T23" fmla="*/ 815 h 912"/>
                <a:gd name="T24" fmla="*/ 582 w 1820"/>
                <a:gd name="T25" fmla="*/ 589 h 912"/>
                <a:gd name="T26" fmla="*/ 278 w 1820"/>
                <a:gd name="T27" fmla="*/ 834 h 912"/>
                <a:gd name="T28" fmla="*/ 183 w 1820"/>
                <a:gd name="T29" fmla="*/ 891 h 912"/>
                <a:gd name="T30" fmla="*/ 20 w 1820"/>
                <a:gd name="T31" fmla="*/ 636 h 912"/>
                <a:gd name="T32" fmla="*/ 332 w 1820"/>
                <a:gd name="T33" fmla="*/ 52 h 912"/>
                <a:gd name="T34" fmla="*/ 749 w 1820"/>
                <a:gd name="T35" fmla="*/ 392 h 912"/>
                <a:gd name="T36" fmla="*/ 494 w 1820"/>
                <a:gd name="T37" fmla="*/ 228 h 912"/>
                <a:gd name="T38" fmla="*/ 50 w 1820"/>
                <a:gd name="T39" fmla="*/ 710 h 912"/>
                <a:gd name="T40" fmla="*/ 230 w 1820"/>
                <a:gd name="T41" fmla="*/ 860 h 912"/>
                <a:gd name="T42" fmla="*/ 253 w 1820"/>
                <a:gd name="T43" fmla="*/ 576 h 912"/>
                <a:gd name="T44" fmla="*/ 742 w 1820"/>
                <a:gd name="T45" fmla="*/ 718 h 912"/>
                <a:gd name="T46" fmla="*/ 1791 w 1820"/>
                <a:gd name="T47" fmla="*/ 805 h 912"/>
                <a:gd name="T48" fmla="*/ 1713 w 1820"/>
                <a:gd name="T49" fmla="*/ 860 h 912"/>
                <a:gd name="T50" fmla="*/ 1597 w 1820"/>
                <a:gd name="T51" fmla="*/ 604 h 912"/>
                <a:gd name="T52" fmla="*/ 1123 w 1820"/>
                <a:gd name="T53" fmla="*/ 664 h 912"/>
                <a:gd name="T54" fmla="*/ 443 w 1820"/>
                <a:gd name="T55" fmla="*/ 462 h 912"/>
                <a:gd name="T56" fmla="*/ 232 w 1820"/>
                <a:gd name="T57" fmla="*/ 788 h 912"/>
                <a:gd name="T58" fmla="*/ 141 w 1820"/>
                <a:gd name="T59" fmla="*/ 836 h 912"/>
                <a:gd name="T60" fmla="*/ 147 w 1820"/>
                <a:gd name="T61" fmla="*/ 64 h 912"/>
                <a:gd name="T62" fmla="*/ 539 w 1820"/>
                <a:gd name="T63" fmla="*/ 298 h 912"/>
                <a:gd name="T64" fmla="*/ 1221 w 1820"/>
                <a:gd name="T65" fmla="*/ 350 h 912"/>
                <a:gd name="T66" fmla="*/ 1564 w 1820"/>
                <a:gd name="T67" fmla="*/ 30 h 912"/>
                <a:gd name="T68" fmla="*/ 827 w 1820"/>
                <a:gd name="T69" fmla="*/ 387 h 912"/>
                <a:gd name="T70" fmla="*/ 382 w 1820"/>
                <a:gd name="T71" fmla="*/ 68 h 912"/>
                <a:gd name="T72" fmla="*/ 3 w 1820"/>
                <a:gd name="T73" fmla="*/ 42 h 912"/>
                <a:gd name="T74" fmla="*/ 35 w 1820"/>
                <a:gd name="T75" fmla="*/ 843 h 912"/>
                <a:gd name="T76" fmla="*/ 275 w 1820"/>
                <a:gd name="T77" fmla="*/ 901 h 912"/>
                <a:gd name="T78" fmla="*/ 360 w 1820"/>
                <a:gd name="T79" fmla="*/ 524 h 912"/>
                <a:gd name="T80" fmla="*/ 816 w 1820"/>
                <a:gd name="T81" fmla="*/ 824 h 912"/>
                <a:gd name="T82" fmla="*/ 1290 w 1820"/>
                <a:gd name="T83" fmla="*/ 593 h 912"/>
                <a:gd name="T84" fmla="*/ 1549 w 1820"/>
                <a:gd name="T85" fmla="*/ 721 h 912"/>
                <a:gd name="T86" fmla="*/ 1772 w 1820"/>
                <a:gd name="T87" fmla="*/ 894 h 912"/>
                <a:gd name="T88" fmla="*/ 1760 w 1820"/>
                <a:gd name="T89" fmla="*/ 884 h 912"/>
                <a:gd name="T90" fmla="*/ 1556 w 1820"/>
                <a:gd name="T91" fmla="*/ 628 h 912"/>
                <a:gd name="T92" fmla="*/ 1200 w 1820"/>
                <a:gd name="T93" fmla="*/ 668 h 912"/>
                <a:gd name="T94" fmla="*/ 633 w 1820"/>
                <a:gd name="T95" fmla="*/ 669 h 912"/>
                <a:gd name="T96" fmla="*/ 295 w 1820"/>
                <a:gd name="T97" fmla="*/ 600 h 912"/>
                <a:gd name="T98" fmla="*/ 279 w 1820"/>
                <a:gd name="T99" fmla="*/ 893 h 912"/>
                <a:gd name="T100" fmla="*/ 22 w 1820"/>
                <a:gd name="T101" fmla="*/ 818 h 912"/>
                <a:gd name="T102" fmla="*/ 278 w 1820"/>
                <a:gd name="T103" fmla="*/ 15 h 912"/>
                <a:gd name="T104" fmla="*/ 1281 w 1820"/>
                <a:gd name="T105" fmla="*/ 260 h 912"/>
                <a:gd name="T106" fmla="*/ 1161 w 1820"/>
                <a:gd name="T107" fmla="*/ 381 h 912"/>
                <a:gd name="T108" fmla="*/ 368 w 1820"/>
                <a:gd name="T109" fmla="*/ 130 h 912"/>
                <a:gd name="T110" fmla="*/ 63 w 1820"/>
                <a:gd name="T111" fmla="*/ 68 h 912"/>
                <a:gd name="T112" fmla="*/ 186 w 1820"/>
                <a:gd name="T113" fmla="*/ 848 h 912"/>
                <a:gd name="T114" fmla="*/ 235 w 1820"/>
                <a:gd name="T115" fmla="*/ 593 h 912"/>
                <a:gd name="T116" fmla="*/ 665 w 1820"/>
                <a:gd name="T117" fmla="*/ 619 h 912"/>
                <a:gd name="T118" fmla="*/ 1141 w 1820"/>
                <a:gd name="T119" fmla="*/ 651 h 912"/>
                <a:gd name="T120" fmla="*/ 1593 w 1820"/>
                <a:gd name="T121" fmla="*/ 597 h 912"/>
                <a:gd name="T122" fmla="*/ 1745 w 1820"/>
                <a:gd name="T123" fmla="*/ 865 h 912"/>
                <a:gd name="T124" fmla="*/ 1796 w 1820"/>
                <a:gd name="T125" fmla="*/ 811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912">
                  <a:moveTo>
                    <a:pt x="1297" y="537"/>
                  </a:moveTo>
                  <a:cubicBezTo>
                    <a:pt x="1277" y="550"/>
                    <a:pt x="1259" y="564"/>
                    <a:pt x="1235" y="585"/>
                  </a:cubicBezTo>
                  <a:cubicBezTo>
                    <a:pt x="1220" y="598"/>
                    <a:pt x="1201" y="615"/>
                    <a:pt x="1181" y="633"/>
                  </a:cubicBezTo>
                  <a:cubicBezTo>
                    <a:pt x="1176" y="637"/>
                    <a:pt x="1171" y="642"/>
                    <a:pt x="1166" y="646"/>
                  </a:cubicBezTo>
                  <a:cubicBezTo>
                    <a:pt x="1161" y="651"/>
                    <a:pt x="1155" y="656"/>
                    <a:pt x="1150" y="660"/>
                  </a:cubicBezTo>
                  <a:cubicBezTo>
                    <a:pt x="1139" y="670"/>
                    <a:pt x="1127" y="680"/>
                    <a:pt x="1116" y="690"/>
                  </a:cubicBezTo>
                  <a:cubicBezTo>
                    <a:pt x="1090" y="713"/>
                    <a:pt x="1064" y="737"/>
                    <a:pt x="1036" y="757"/>
                  </a:cubicBezTo>
                  <a:cubicBezTo>
                    <a:pt x="1008" y="777"/>
                    <a:pt x="978" y="794"/>
                    <a:pt x="946" y="800"/>
                  </a:cubicBezTo>
                  <a:cubicBezTo>
                    <a:pt x="930" y="804"/>
                    <a:pt x="914" y="804"/>
                    <a:pt x="898" y="801"/>
                  </a:cubicBezTo>
                  <a:cubicBezTo>
                    <a:pt x="882" y="798"/>
                    <a:pt x="866" y="792"/>
                    <a:pt x="850" y="785"/>
                  </a:cubicBezTo>
                  <a:cubicBezTo>
                    <a:pt x="820" y="769"/>
                    <a:pt x="792" y="747"/>
                    <a:pt x="766" y="724"/>
                  </a:cubicBezTo>
                  <a:cubicBezTo>
                    <a:pt x="741" y="702"/>
                    <a:pt x="715" y="677"/>
                    <a:pt x="688" y="652"/>
                  </a:cubicBezTo>
                  <a:cubicBezTo>
                    <a:pt x="681" y="646"/>
                    <a:pt x="674" y="640"/>
                    <a:pt x="667" y="634"/>
                  </a:cubicBezTo>
                  <a:cubicBezTo>
                    <a:pt x="661" y="627"/>
                    <a:pt x="654" y="621"/>
                    <a:pt x="647" y="615"/>
                  </a:cubicBezTo>
                  <a:cubicBezTo>
                    <a:pt x="633" y="602"/>
                    <a:pt x="620" y="588"/>
                    <a:pt x="605" y="575"/>
                  </a:cubicBezTo>
                  <a:cubicBezTo>
                    <a:pt x="576" y="549"/>
                    <a:pt x="545" y="522"/>
                    <a:pt x="508" y="501"/>
                  </a:cubicBezTo>
                  <a:cubicBezTo>
                    <a:pt x="490" y="490"/>
                    <a:pt x="470" y="481"/>
                    <a:pt x="449" y="474"/>
                  </a:cubicBezTo>
                  <a:cubicBezTo>
                    <a:pt x="428" y="468"/>
                    <a:pt x="405" y="464"/>
                    <a:pt x="383" y="464"/>
                  </a:cubicBezTo>
                  <a:cubicBezTo>
                    <a:pt x="358" y="464"/>
                    <a:pt x="334" y="470"/>
                    <a:pt x="312" y="483"/>
                  </a:cubicBezTo>
                  <a:cubicBezTo>
                    <a:pt x="291" y="495"/>
                    <a:pt x="274" y="513"/>
                    <a:pt x="261" y="534"/>
                  </a:cubicBezTo>
                  <a:cubicBezTo>
                    <a:pt x="249" y="555"/>
                    <a:pt x="242" y="580"/>
                    <a:pt x="242" y="605"/>
                  </a:cubicBezTo>
                  <a:cubicBezTo>
                    <a:pt x="242" y="625"/>
                    <a:pt x="242" y="646"/>
                    <a:pt x="242" y="667"/>
                  </a:cubicBezTo>
                  <a:cubicBezTo>
                    <a:pt x="242" y="708"/>
                    <a:pt x="243" y="750"/>
                    <a:pt x="243" y="791"/>
                  </a:cubicBezTo>
                  <a:cubicBezTo>
                    <a:pt x="243" y="809"/>
                    <a:pt x="243" y="826"/>
                    <a:pt x="243" y="844"/>
                  </a:cubicBezTo>
                  <a:cubicBezTo>
                    <a:pt x="243" y="846"/>
                    <a:pt x="243" y="849"/>
                    <a:pt x="242" y="851"/>
                  </a:cubicBezTo>
                  <a:cubicBezTo>
                    <a:pt x="241" y="852"/>
                    <a:pt x="240" y="853"/>
                    <a:pt x="239" y="853"/>
                  </a:cubicBezTo>
                  <a:cubicBezTo>
                    <a:pt x="238" y="854"/>
                    <a:pt x="237" y="854"/>
                    <a:pt x="236" y="854"/>
                  </a:cubicBezTo>
                  <a:cubicBezTo>
                    <a:pt x="234" y="855"/>
                    <a:pt x="232" y="855"/>
                    <a:pt x="229" y="855"/>
                  </a:cubicBezTo>
                  <a:cubicBezTo>
                    <a:pt x="226" y="855"/>
                    <a:pt x="226" y="855"/>
                    <a:pt x="226" y="855"/>
                  </a:cubicBezTo>
                  <a:cubicBezTo>
                    <a:pt x="219" y="856"/>
                    <a:pt x="219" y="856"/>
                    <a:pt x="219" y="856"/>
                  </a:cubicBezTo>
                  <a:cubicBezTo>
                    <a:pt x="209" y="856"/>
                    <a:pt x="200" y="856"/>
                    <a:pt x="191" y="856"/>
                  </a:cubicBezTo>
                  <a:cubicBezTo>
                    <a:pt x="184" y="856"/>
                    <a:pt x="184" y="856"/>
                    <a:pt x="184" y="856"/>
                  </a:cubicBezTo>
                  <a:cubicBezTo>
                    <a:pt x="181" y="856"/>
                    <a:pt x="180" y="856"/>
                    <a:pt x="177" y="856"/>
                  </a:cubicBezTo>
                  <a:cubicBezTo>
                    <a:pt x="173" y="856"/>
                    <a:pt x="169" y="856"/>
                    <a:pt x="165" y="855"/>
                  </a:cubicBezTo>
                  <a:cubicBezTo>
                    <a:pt x="149" y="853"/>
                    <a:pt x="133" y="847"/>
                    <a:pt x="117" y="839"/>
                  </a:cubicBezTo>
                  <a:cubicBezTo>
                    <a:pt x="102" y="831"/>
                    <a:pt x="89" y="821"/>
                    <a:pt x="77" y="808"/>
                  </a:cubicBezTo>
                  <a:cubicBezTo>
                    <a:pt x="66" y="796"/>
                    <a:pt x="58" y="782"/>
                    <a:pt x="55" y="766"/>
                  </a:cubicBezTo>
                  <a:cubicBezTo>
                    <a:pt x="55" y="763"/>
                    <a:pt x="54" y="759"/>
                    <a:pt x="54" y="755"/>
                  </a:cubicBezTo>
                  <a:cubicBezTo>
                    <a:pt x="54" y="752"/>
                    <a:pt x="54" y="752"/>
                    <a:pt x="54" y="752"/>
                  </a:cubicBezTo>
                  <a:cubicBezTo>
                    <a:pt x="54" y="748"/>
                    <a:pt x="54" y="748"/>
                    <a:pt x="54" y="748"/>
                  </a:cubicBezTo>
                  <a:cubicBezTo>
                    <a:pt x="54" y="741"/>
                    <a:pt x="54" y="741"/>
                    <a:pt x="54" y="741"/>
                  </a:cubicBezTo>
                  <a:cubicBezTo>
                    <a:pt x="54" y="731"/>
                    <a:pt x="54" y="721"/>
                    <a:pt x="54" y="712"/>
                  </a:cubicBezTo>
                  <a:cubicBezTo>
                    <a:pt x="54" y="692"/>
                    <a:pt x="54" y="672"/>
                    <a:pt x="53" y="652"/>
                  </a:cubicBezTo>
                  <a:cubicBezTo>
                    <a:pt x="53" y="613"/>
                    <a:pt x="53" y="573"/>
                    <a:pt x="53" y="533"/>
                  </a:cubicBezTo>
                  <a:cubicBezTo>
                    <a:pt x="53" y="376"/>
                    <a:pt x="52" y="68"/>
                    <a:pt x="52" y="62"/>
                  </a:cubicBezTo>
                  <a:cubicBezTo>
                    <a:pt x="52" y="51"/>
                    <a:pt x="55" y="48"/>
                    <a:pt x="66" y="48"/>
                  </a:cubicBezTo>
                  <a:cubicBezTo>
                    <a:pt x="82" y="48"/>
                    <a:pt x="118" y="47"/>
                    <a:pt x="144" y="47"/>
                  </a:cubicBezTo>
                  <a:cubicBezTo>
                    <a:pt x="158" y="47"/>
                    <a:pt x="172" y="47"/>
                    <a:pt x="186" y="47"/>
                  </a:cubicBezTo>
                  <a:cubicBezTo>
                    <a:pt x="193" y="47"/>
                    <a:pt x="200" y="47"/>
                    <a:pt x="207" y="47"/>
                  </a:cubicBezTo>
                  <a:cubicBezTo>
                    <a:pt x="218" y="47"/>
                    <a:pt x="218" y="47"/>
                    <a:pt x="218" y="47"/>
                  </a:cubicBezTo>
                  <a:cubicBezTo>
                    <a:pt x="221" y="47"/>
                    <a:pt x="224" y="47"/>
                    <a:pt x="227" y="48"/>
                  </a:cubicBezTo>
                  <a:cubicBezTo>
                    <a:pt x="253" y="49"/>
                    <a:pt x="278" y="56"/>
                    <a:pt x="302" y="67"/>
                  </a:cubicBezTo>
                  <a:cubicBezTo>
                    <a:pt x="313" y="73"/>
                    <a:pt x="324" y="79"/>
                    <a:pt x="335" y="87"/>
                  </a:cubicBezTo>
                  <a:cubicBezTo>
                    <a:pt x="340" y="90"/>
                    <a:pt x="345" y="94"/>
                    <a:pt x="349" y="99"/>
                  </a:cubicBezTo>
                  <a:cubicBezTo>
                    <a:pt x="354" y="103"/>
                    <a:pt x="359" y="108"/>
                    <a:pt x="364" y="112"/>
                  </a:cubicBezTo>
                  <a:cubicBezTo>
                    <a:pt x="404" y="150"/>
                    <a:pt x="444" y="186"/>
                    <a:pt x="483" y="223"/>
                  </a:cubicBezTo>
                  <a:cubicBezTo>
                    <a:pt x="502" y="241"/>
                    <a:pt x="521" y="259"/>
                    <a:pt x="540" y="276"/>
                  </a:cubicBezTo>
                  <a:cubicBezTo>
                    <a:pt x="548" y="283"/>
                    <a:pt x="548" y="283"/>
                    <a:pt x="548" y="283"/>
                  </a:cubicBezTo>
                  <a:cubicBezTo>
                    <a:pt x="551" y="286"/>
                    <a:pt x="551" y="286"/>
                    <a:pt x="551" y="286"/>
                  </a:cubicBezTo>
                  <a:cubicBezTo>
                    <a:pt x="554" y="290"/>
                    <a:pt x="554" y="290"/>
                    <a:pt x="554" y="290"/>
                  </a:cubicBezTo>
                  <a:cubicBezTo>
                    <a:pt x="559" y="294"/>
                    <a:pt x="564" y="299"/>
                    <a:pt x="569" y="303"/>
                  </a:cubicBezTo>
                  <a:cubicBezTo>
                    <a:pt x="579" y="312"/>
                    <a:pt x="589" y="321"/>
                    <a:pt x="600" y="329"/>
                  </a:cubicBezTo>
                  <a:cubicBezTo>
                    <a:pt x="637" y="357"/>
                    <a:pt x="676" y="377"/>
                    <a:pt x="712" y="392"/>
                  </a:cubicBezTo>
                  <a:cubicBezTo>
                    <a:pt x="748" y="406"/>
                    <a:pt x="782" y="415"/>
                    <a:pt x="811" y="420"/>
                  </a:cubicBezTo>
                  <a:cubicBezTo>
                    <a:pt x="839" y="425"/>
                    <a:pt x="864" y="427"/>
                    <a:pt x="882" y="427"/>
                  </a:cubicBezTo>
                  <a:cubicBezTo>
                    <a:pt x="900" y="428"/>
                    <a:pt x="912" y="427"/>
                    <a:pt x="918" y="427"/>
                  </a:cubicBezTo>
                  <a:cubicBezTo>
                    <a:pt x="940" y="426"/>
                    <a:pt x="956" y="423"/>
                    <a:pt x="967" y="421"/>
                  </a:cubicBezTo>
                  <a:cubicBezTo>
                    <a:pt x="978" y="419"/>
                    <a:pt x="984" y="418"/>
                    <a:pt x="985" y="417"/>
                  </a:cubicBezTo>
                  <a:cubicBezTo>
                    <a:pt x="985" y="415"/>
                    <a:pt x="981" y="415"/>
                    <a:pt x="971" y="415"/>
                  </a:cubicBezTo>
                  <a:cubicBezTo>
                    <a:pt x="961" y="415"/>
                    <a:pt x="948" y="415"/>
                    <a:pt x="924" y="414"/>
                  </a:cubicBezTo>
                  <a:cubicBezTo>
                    <a:pt x="895" y="413"/>
                    <a:pt x="852" y="410"/>
                    <a:pt x="800" y="397"/>
                  </a:cubicBezTo>
                  <a:cubicBezTo>
                    <a:pt x="774" y="390"/>
                    <a:pt x="745" y="381"/>
                    <a:pt x="716" y="368"/>
                  </a:cubicBezTo>
                  <a:cubicBezTo>
                    <a:pt x="686" y="354"/>
                    <a:pt x="655" y="337"/>
                    <a:pt x="626" y="315"/>
                  </a:cubicBezTo>
                  <a:cubicBezTo>
                    <a:pt x="611" y="303"/>
                    <a:pt x="596" y="291"/>
                    <a:pt x="581" y="277"/>
                  </a:cubicBezTo>
                  <a:cubicBezTo>
                    <a:pt x="578" y="274"/>
                    <a:pt x="574" y="270"/>
                    <a:pt x="571" y="267"/>
                  </a:cubicBezTo>
                  <a:cubicBezTo>
                    <a:pt x="567" y="263"/>
                    <a:pt x="563" y="260"/>
                    <a:pt x="559" y="256"/>
                  </a:cubicBezTo>
                  <a:cubicBezTo>
                    <a:pt x="552" y="249"/>
                    <a:pt x="544" y="241"/>
                    <a:pt x="536" y="234"/>
                  </a:cubicBezTo>
                  <a:cubicBezTo>
                    <a:pt x="506" y="204"/>
                    <a:pt x="473" y="173"/>
                    <a:pt x="439" y="140"/>
                  </a:cubicBezTo>
                  <a:cubicBezTo>
                    <a:pt x="422" y="124"/>
                    <a:pt x="405" y="107"/>
                    <a:pt x="387" y="90"/>
                  </a:cubicBezTo>
                  <a:cubicBezTo>
                    <a:pt x="382" y="86"/>
                    <a:pt x="378" y="82"/>
                    <a:pt x="373" y="78"/>
                  </a:cubicBezTo>
                  <a:cubicBezTo>
                    <a:pt x="368" y="73"/>
                    <a:pt x="363" y="69"/>
                    <a:pt x="358" y="65"/>
                  </a:cubicBezTo>
                  <a:cubicBezTo>
                    <a:pt x="348" y="56"/>
                    <a:pt x="336" y="49"/>
                    <a:pt x="324" y="42"/>
                  </a:cubicBezTo>
                  <a:cubicBezTo>
                    <a:pt x="300" y="30"/>
                    <a:pt x="274" y="20"/>
                    <a:pt x="246" y="16"/>
                  </a:cubicBezTo>
                  <a:cubicBezTo>
                    <a:pt x="239" y="15"/>
                    <a:pt x="232" y="15"/>
                    <a:pt x="225" y="14"/>
                  </a:cubicBezTo>
                  <a:cubicBezTo>
                    <a:pt x="220" y="14"/>
                    <a:pt x="220" y="14"/>
                    <a:pt x="220" y="14"/>
                  </a:cubicBezTo>
                  <a:cubicBezTo>
                    <a:pt x="218" y="14"/>
                    <a:pt x="216" y="14"/>
                    <a:pt x="214" y="14"/>
                  </a:cubicBezTo>
                  <a:cubicBezTo>
                    <a:pt x="211" y="14"/>
                    <a:pt x="208" y="14"/>
                    <a:pt x="204" y="14"/>
                  </a:cubicBezTo>
                  <a:cubicBezTo>
                    <a:pt x="191" y="14"/>
                    <a:pt x="177" y="14"/>
                    <a:pt x="164" y="13"/>
                  </a:cubicBezTo>
                  <a:cubicBezTo>
                    <a:pt x="127" y="13"/>
                    <a:pt x="78" y="13"/>
                    <a:pt x="52" y="13"/>
                  </a:cubicBezTo>
                  <a:cubicBezTo>
                    <a:pt x="25" y="13"/>
                    <a:pt x="17" y="29"/>
                    <a:pt x="17" y="48"/>
                  </a:cubicBezTo>
                  <a:cubicBezTo>
                    <a:pt x="17" y="65"/>
                    <a:pt x="16" y="137"/>
                    <a:pt x="16" y="181"/>
                  </a:cubicBezTo>
                  <a:cubicBezTo>
                    <a:pt x="15" y="299"/>
                    <a:pt x="15" y="419"/>
                    <a:pt x="14" y="540"/>
                  </a:cubicBezTo>
                  <a:cubicBezTo>
                    <a:pt x="14" y="600"/>
                    <a:pt x="14" y="660"/>
                    <a:pt x="14" y="721"/>
                  </a:cubicBezTo>
                  <a:cubicBezTo>
                    <a:pt x="14" y="743"/>
                    <a:pt x="14" y="743"/>
                    <a:pt x="14" y="743"/>
                  </a:cubicBezTo>
                  <a:cubicBezTo>
                    <a:pt x="14" y="755"/>
                    <a:pt x="14" y="755"/>
                    <a:pt x="14" y="755"/>
                  </a:cubicBezTo>
                  <a:cubicBezTo>
                    <a:pt x="14" y="759"/>
                    <a:pt x="15" y="764"/>
                    <a:pt x="15" y="769"/>
                  </a:cubicBezTo>
                  <a:cubicBezTo>
                    <a:pt x="18" y="787"/>
                    <a:pt x="25" y="804"/>
                    <a:pt x="35" y="818"/>
                  </a:cubicBezTo>
                  <a:cubicBezTo>
                    <a:pt x="44" y="833"/>
                    <a:pt x="56" y="845"/>
                    <a:pt x="69" y="856"/>
                  </a:cubicBezTo>
                  <a:cubicBezTo>
                    <a:pt x="82" y="866"/>
                    <a:pt x="97" y="875"/>
                    <a:pt x="112" y="882"/>
                  </a:cubicBezTo>
                  <a:cubicBezTo>
                    <a:pt x="127" y="888"/>
                    <a:pt x="143" y="893"/>
                    <a:pt x="160" y="896"/>
                  </a:cubicBezTo>
                  <a:cubicBezTo>
                    <a:pt x="164" y="896"/>
                    <a:pt x="168" y="897"/>
                    <a:pt x="173" y="897"/>
                  </a:cubicBezTo>
                  <a:cubicBezTo>
                    <a:pt x="175" y="897"/>
                    <a:pt x="177" y="897"/>
                    <a:pt x="179" y="897"/>
                  </a:cubicBezTo>
                  <a:cubicBezTo>
                    <a:pt x="185" y="897"/>
                    <a:pt x="185" y="897"/>
                    <a:pt x="185" y="897"/>
                  </a:cubicBezTo>
                  <a:cubicBezTo>
                    <a:pt x="193" y="897"/>
                    <a:pt x="200" y="897"/>
                    <a:pt x="208" y="897"/>
                  </a:cubicBezTo>
                  <a:cubicBezTo>
                    <a:pt x="219" y="897"/>
                    <a:pt x="219" y="897"/>
                    <a:pt x="219" y="897"/>
                  </a:cubicBezTo>
                  <a:cubicBezTo>
                    <a:pt x="225" y="897"/>
                    <a:pt x="225" y="897"/>
                    <a:pt x="225" y="897"/>
                  </a:cubicBezTo>
                  <a:cubicBezTo>
                    <a:pt x="232" y="896"/>
                    <a:pt x="232" y="896"/>
                    <a:pt x="232" y="896"/>
                  </a:cubicBezTo>
                  <a:cubicBezTo>
                    <a:pt x="243" y="896"/>
                    <a:pt x="254" y="894"/>
                    <a:pt x="264" y="891"/>
                  </a:cubicBezTo>
                  <a:cubicBezTo>
                    <a:pt x="268" y="889"/>
                    <a:pt x="273" y="886"/>
                    <a:pt x="276" y="881"/>
                  </a:cubicBezTo>
                  <a:cubicBezTo>
                    <a:pt x="279" y="877"/>
                    <a:pt x="281" y="873"/>
                    <a:pt x="282" y="868"/>
                  </a:cubicBezTo>
                  <a:cubicBezTo>
                    <a:pt x="283" y="865"/>
                    <a:pt x="283" y="863"/>
                    <a:pt x="284" y="860"/>
                  </a:cubicBezTo>
                  <a:cubicBezTo>
                    <a:pt x="284" y="857"/>
                    <a:pt x="284" y="855"/>
                    <a:pt x="284" y="852"/>
                  </a:cubicBezTo>
                  <a:cubicBezTo>
                    <a:pt x="284" y="836"/>
                    <a:pt x="284" y="836"/>
                    <a:pt x="284" y="836"/>
                  </a:cubicBezTo>
                  <a:cubicBezTo>
                    <a:pt x="284" y="777"/>
                    <a:pt x="284" y="719"/>
                    <a:pt x="284" y="661"/>
                  </a:cubicBezTo>
                  <a:cubicBezTo>
                    <a:pt x="284" y="647"/>
                    <a:pt x="284" y="633"/>
                    <a:pt x="284" y="618"/>
                  </a:cubicBezTo>
                  <a:cubicBezTo>
                    <a:pt x="284" y="611"/>
                    <a:pt x="283" y="604"/>
                    <a:pt x="284" y="598"/>
                  </a:cubicBezTo>
                  <a:cubicBezTo>
                    <a:pt x="284" y="592"/>
                    <a:pt x="285" y="586"/>
                    <a:pt x="286" y="581"/>
                  </a:cubicBezTo>
                  <a:cubicBezTo>
                    <a:pt x="292" y="557"/>
                    <a:pt x="306" y="536"/>
                    <a:pt x="325" y="523"/>
                  </a:cubicBezTo>
                  <a:cubicBezTo>
                    <a:pt x="335" y="516"/>
                    <a:pt x="345" y="510"/>
                    <a:pt x="356" y="507"/>
                  </a:cubicBezTo>
                  <a:cubicBezTo>
                    <a:pt x="362" y="506"/>
                    <a:pt x="368" y="505"/>
                    <a:pt x="373" y="504"/>
                  </a:cubicBezTo>
                  <a:cubicBezTo>
                    <a:pt x="376" y="504"/>
                    <a:pt x="379" y="504"/>
                    <a:pt x="382" y="504"/>
                  </a:cubicBezTo>
                  <a:cubicBezTo>
                    <a:pt x="385" y="504"/>
                    <a:pt x="388" y="504"/>
                    <a:pt x="391" y="504"/>
                  </a:cubicBezTo>
                  <a:cubicBezTo>
                    <a:pt x="416" y="505"/>
                    <a:pt x="441" y="511"/>
                    <a:pt x="464" y="521"/>
                  </a:cubicBezTo>
                  <a:cubicBezTo>
                    <a:pt x="487" y="531"/>
                    <a:pt x="508" y="544"/>
                    <a:pt x="528" y="559"/>
                  </a:cubicBezTo>
                  <a:cubicBezTo>
                    <a:pt x="549" y="574"/>
                    <a:pt x="568" y="591"/>
                    <a:pt x="586" y="607"/>
                  </a:cubicBezTo>
                  <a:cubicBezTo>
                    <a:pt x="605" y="624"/>
                    <a:pt x="623" y="641"/>
                    <a:pt x="642" y="658"/>
                  </a:cubicBezTo>
                  <a:cubicBezTo>
                    <a:pt x="651" y="666"/>
                    <a:pt x="660" y="674"/>
                    <a:pt x="669" y="682"/>
                  </a:cubicBezTo>
                  <a:cubicBezTo>
                    <a:pt x="678" y="690"/>
                    <a:pt x="687" y="698"/>
                    <a:pt x="696" y="706"/>
                  </a:cubicBezTo>
                  <a:cubicBezTo>
                    <a:pt x="732" y="737"/>
                    <a:pt x="766" y="769"/>
                    <a:pt x="804" y="793"/>
                  </a:cubicBezTo>
                  <a:cubicBezTo>
                    <a:pt x="824" y="806"/>
                    <a:pt x="844" y="816"/>
                    <a:pt x="865" y="823"/>
                  </a:cubicBezTo>
                  <a:cubicBezTo>
                    <a:pt x="886" y="830"/>
                    <a:pt x="909" y="833"/>
                    <a:pt x="930" y="831"/>
                  </a:cubicBezTo>
                  <a:cubicBezTo>
                    <a:pt x="952" y="829"/>
                    <a:pt x="972" y="823"/>
                    <a:pt x="990" y="815"/>
                  </a:cubicBezTo>
                  <a:cubicBezTo>
                    <a:pt x="1008" y="806"/>
                    <a:pt x="1024" y="796"/>
                    <a:pt x="1039" y="786"/>
                  </a:cubicBezTo>
                  <a:cubicBezTo>
                    <a:pt x="1068" y="765"/>
                    <a:pt x="1092" y="742"/>
                    <a:pt x="1115" y="722"/>
                  </a:cubicBezTo>
                  <a:cubicBezTo>
                    <a:pt x="1136" y="701"/>
                    <a:pt x="1156" y="682"/>
                    <a:pt x="1175" y="665"/>
                  </a:cubicBezTo>
                  <a:cubicBezTo>
                    <a:pt x="1193" y="648"/>
                    <a:pt x="1208" y="632"/>
                    <a:pt x="1222" y="618"/>
                  </a:cubicBezTo>
                  <a:cubicBezTo>
                    <a:pt x="1243" y="597"/>
                    <a:pt x="1255" y="584"/>
                    <a:pt x="1268" y="572"/>
                  </a:cubicBezTo>
                  <a:cubicBezTo>
                    <a:pt x="1287" y="554"/>
                    <a:pt x="1300" y="542"/>
                    <a:pt x="1305" y="536"/>
                  </a:cubicBezTo>
                  <a:cubicBezTo>
                    <a:pt x="1310" y="531"/>
                    <a:pt x="1308" y="530"/>
                    <a:pt x="1297" y="537"/>
                  </a:cubicBezTo>
                  <a:close/>
                  <a:moveTo>
                    <a:pt x="711" y="700"/>
                  </a:moveTo>
                  <a:cubicBezTo>
                    <a:pt x="700" y="691"/>
                    <a:pt x="689" y="682"/>
                    <a:pt x="671" y="667"/>
                  </a:cubicBezTo>
                  <a:cubicBezTo>
                    <a:pt x="659" y="657"/>
                    <a:pt x="645" y="646"/>
                    <a:pt x="631" y="632"/>
                  </a:cubicBezTo>
                  <a:cubicBezTo>
                    <a:pt x="616" y="619"/>
                    <a:pt x="600" y="605"/>
                    <a:pt x="582" y="589"/>
                  </a:cubicBezTo>
                  <a:cubicBezTo>
                    <a:pt x="564" y="574"/>
                    <a:pt x="545" y="558"/>
                    <a:pt x="523" y="543"/>
                  </a:cubicBezTo>
                  <a:cubicBezTo>
                    <a:pt x="501" y="529"/>
                    <a:pt x="476" y="515"/>
                    <a:pt x="448" y="506"/>
                  </a:cubicBezTo>
                  <a:cubicBezTo>
                    <a:pt x="434" y="501"/>
                    <a:pt x="420" y="498"/>
                    <a:pt x="405" y="496"/>
                  </a:cubicBezTo>
                  <a:cubicBezTo>
                    <a:pt x="397" y="496"/>
                    <a:pt x="389" y="495"/>
                    <a:pt x="382" y="495"/>
                  </a:cubicBezTo>
                  <a:cubicBezTo>
                    <a:pt x="374" y="496"/>
                    <a:pt x="367" y="496"/>
                    <a:pt x="359" y="498"/>
                  </a:cubicBezTo>
                  <a:cubicBezTo>
                    <a:pt x="345" y="501"/>
                    <a:pt x="331" y="508"/>
                    <a:pt x="318" y="518"/>
                  </a:cubicBezTo>
                  <a:cubicBezTo>
                    <a:pt x="306" y="527"/>
                    <a:pt x="295" y="540"/>
                    <a:pt x="288" y="554"/>
                  </a:cubicBezTo>
                  <a:cubicBezTo>
                    <a:pt x="281" y="569"/>
                    <a:pt x="276" y="585"/>
                    <a:pt x="276" y="602"/>
                  </a:cubicBezTo>
                  <a:cubicBezTo>
                    <a:pt x="276" y="620"/>
                    <a:pt x="276" y="639"/>
                    <a:pt x="277" y="657"/>
                  </a:cubicBezTo>
                  <a:cubicBezTo>
                    <a:pt x="277" y="695"/>
                    <a:pt x="277" y="734"/>
                    <a:pt x="277" y="774"/>
                  </a:cubicBezTo>
                  <a:cubicBezTo>
                    <a:pt x="277" y="793"/>
                    <a:pt x="278" y="814"/>
                    <a:pt x="278" y="834"/>
                  </a:cubicBezTo>
                  <a:cubicBezTo>
                    <a:pt x="278" y="838"/>
                    <a:pt x="278" y="838"/>
                    <a:pt x="278" y="838"/>
                  </a:cubicBezTo>
                  <a:cubicBezTo>
                    <a:pt x="278" y="843"/>
                    <a:pt x="278" y="843"/>
                    <a:pt x="278" y="843"/>
                  </a:cubicBezTo>
                  <a:cubicBezTo>
                    <a:pt x="278" y="853"/>
                    <a:pt x="278" y="853"/>
                    <a:pt x="278" y="853"/>
                  </a:cubicBezTo>
                  <a:cubicBezTo>
                    <a:pt x="278" y="860"/>
                    <a:pt x="277" y="866"/>
                    <a:pt x="274" y="872"/>
                  </a:cubicBezTo>
                  <a:cubicBezTo>
                    <a:pt x="272" y="878"/>
                    <a:pt x="267" y="883"/>
                    <a:pt x="261" y="885"/>
                  </a:cubicBezTo>
                  <a:cubicBezTo>
                    <a:pt x="255" y="887"/>
                    <a:pt x="248" y="888"/>
                    <a:pt x="241" y="889"/>
                  </a:cubicBezTo>
                  <a:cubicBezTo>
                    <a:pt x="238" y="889"/>
                    <a:pt x="234" y="890"/>
                    <a:pt x="231" y="890"/>
                  </a:cubicBezTo>
                  <a:cubicBezTo>
                    <a:pt x="222" y="890"/>
                    <a:pt x="222" y="890"/>
                    <a:pt x="222" y="890"/>
                  </a:cubicBezTo>
                  <a:cubicBezTo>
                    <a:pt x="217" y="891"/>
                    <a:pt x="212" y="891"/>
                    <a:pt x="206" y="891"/>
                  </a:cubicBezTo>
                  <a:cubicBezTo>
                    <a:pt x="201" y="891"/>
                    <a:pt x="196" y="891"/>
                    <a:pt x="191" y="891"/>
                  </a:cubicBezTo>
                  <a:cubicBezTo>
                    <a:pt x="183" y="891"/>
                    <a:pt x="183" y="891"/>
                    <a:pt x="183" y="891"/>
                  </a:cubicBezTo>
                  <a:cubicBezTo>
                    <a:pt x="180" y="891"/>
                    <a:pt x="177" y="891"/>
                    <a:pt x="174" y="891"/>
                  </a:cubicBezTo>
                  <a:cubicBezTo>
                    <a:pt x="151" y="890"/>
                    <a:pt x="129" y="883"/>
                    <a:pt x="108" y="873"/>
                  </a:cubicBezTo>
                  <a:cubicBezTo>
                    <a:pt x="88" y="863"/>
                    <a:pt x="69" y="850"/>
                    <a:pt x="53" y="832"/>
                  </a:cubicBezTo>
                  <a:cubicBezTo>
                    <a:pt x="45" y="824"/>
                    <a:pt x="38" y="814"/>
                    <a:pt x="32" y="803"/>
                  </a:cubicBezTo>
                  <a:cubicBezTo>
                    <a:pt x="27" y="792"/>
                    <a:pt x="23" y="780"/>
                    <a:pt x="21" y="768"/>
                  </a:cubicBezTo>
                  <a:cubicBezTo>
                    <a:pt x="21" y="765"/>
                    <a:pt x="20" y="762"/>
                    <a:pt x="20" y="759"/>
                  </a:cubicBezTo>
                  <a:cubicBezTo>
                    <a:pt x="20" y="757"/>
                    <a:pt x="20" y="756"/>
                    <a:pt x="20" y="754"/>
                  </a:cubicBezTo>
                  <a:cubicBezTo>
                    <a:pt x="20" y="750"/>
                    <a:pt x="20" y="750"/>
                    <a:pt x="20" y="750"/>
                  </a:cubicBezTo>
                  <a:cubicBezTo>
                    <a:pt x="20" y="734"/>
                    <a:pt x="20" y="734"/>
                    <a:pt x="20" y="734"/>
                  </a:cubicBezTo>
                  <a:cubicBezTo>
                    <a:pt x="20" y="723"/>
                    <a:pt x="20" y="712"/>
                    <a:pt x="20" y="701"/>
                  </a:cubicBezTo>
                  <a:cubicBezTo>
                    <a:pt x="20" y="679"/>
                    <a:pt x="20" y="657"/>
                    <a:pt x="20" y="636"/>
                  </a:cubicBezTo>
                  <a:cubicBezTo>
                    <a:pt x="20" y="460"/>
                    <a:pt x="20" y="282"/>
                    <a:pt x="21" y="112"/>
                  </a:cubicBezTo>
                  <a:cubicBezTo>
                    <a:pt x="21" y="91"/>
                    <a:pt x="21" y="65"/>
                    <a:pt x="21" y="50"/>
                  </a:cubicBezTo>
                  <a:cubicBezTo>
                    <a:pt x="21" y="34"/>
                    <a:pt x="31" y="17"/>
                    <a:pt x="54" y="17"/>
                  </a:cubicBezTo>
                  <a:cubicBezTo>
                    <a:pt x="77" y="17"/>
                    <a:pt x="126" y="18"/>
                    <a:pt x="161" y="18"/>
                  </a:cubicBezTo>
                  <a:cubicBezTo>
                    <a:pt x="171" y="18"/>
                    <a:pt x="181" y="18"/>
                    <a:pt x="191" y="18"/>
                  </a:cubicBezTo>
                  <a:cubicBezTo>
                    <a:pt x="196" y="18"/>
                    <a:pt x="201" y="18"/>
                    <a:pt x="206" y="18"/>
                  </a:cubicBezTo>
                  <a:cubicBezTo>
                    <a:pt x="213" y="18"/>
                    <a:pt x="213" y="18"/>
                    <a:pt x="213" y="18"/>
                  </a:cubicBezTo>
                  <a:cubicBezTo>
                    <a:pt x="216" y="18"/>
                    <a:pt x="216" y="18"/>
                    <a:pt x="216" y="18"/>
                  </a:cubicBezTo>
                  <a:cubicBezTo>
                    <a:pt x="220" y="19"/>
                    <a:pt x="220" y="19"/>
                    <a:pt x="220" y="19"/>
                  </a:cubicBezTo>
                  <a:cubicBezTo>
                    <a:pt x="241" y="19"/>
                    <a:pt x="261" y="23"/>
                    <a:pt x="279" y="29"/>
                  </a:cubicBezTo>
                  <a:cubicBezTo>
                    <a:pt x="298" y="34"/>
                    <a:pt x="316" y="42"/>
                    <a:pt x="332" y="52"/>
                  </a:cubicBezTo>
                  <a:cubicBezTo>
                    <a:pt x="340" y="57"/>
                    <a:pt x="348" y="63"/>
                    <a:pt x="356" y="68"/>
                  </a:cubicBezTo>
                  <a:cubicBezTo>
                    <a:pt x="363" y="74"/>
                    <a:pt x="370" y="81"/>
                    <a:pt x="376" y="87"/>
                  </a:cubicBezTo>
                  <a:cubicBezTo>
                    <a:pt x="427" y="135"/>
                    <a:pt x="473" y="180"/>
                    <a:pt x="515" y="220"/>
                  </a:cubicBezTo>
                  <a:cubicBezTo>
                    <a:pt x="525" y="230"/>
                    <a:pt x="535" y="239"/>
                    <a:pt x="545" y="249"/>
                  </a:cubicBezTo>
                  <a:cubicBezTo>
                    <a:pt x="550" y="253"/>
                    <a:pt x="554" y="258"/>
                    <a:pt x="559" y="262"/>
                  </a:cubicBezTo>
                  <a:cubicBezTo>
                    <a:pt x="561" y="265"/>
                    <a:pt x="564" y="267"/>
                    <a:pt x="566" y="269"/>
                  </a:cubicBezTo>
                  <a:cubicBezTo>
                    <a:pt x="568" y="271"/>
                    <a:pt x="571" y="274"/>
                    <a:pt x="573" y="276"/>
                  </a:cubicBezTo>
                  <a:cubicBezTo>
                    <a:pt x="590" y="293"/>
                    <a:pt x="608" y="308"/>
                    <a:pt x="624" y="320"/>
                  </a:cubicBezTo>
                  <a:cubicBezTo>
                    <a:pt x="657" y="345"/>
                    <a:pt x="687" y="361"/>
                    <a:pt x="707" y="371"/>
                  </a:cubicBezTo>
                  <a:cubicBezTo>
                    <a:pt x="723" y="379"/>
                    <a:pt x="732" y="383"/>
                    <a:pt x="739" y="387"/>
                  </a:cubicBezTo>
                  <a:cubicBezTo>
                    <a:pt x="746" y="390"/>
                    <a:pt x="749" y="392"/>
                    <a:pt x="749" y="392"/>
                  </a:cubicBezTo>
                  <a:cubicBezTo>
                    <a:pt x="748" y="393"/>
                    <a:pt x="743" y="392"/>
                    <a:pt x="735" y="390"/>
                  </a:cubicBezTo>
                  <a:cubicBezTo>
                    <a:pt x="726" y="388"/>
                    <a:pt x="714" y="384"/>
                    <a:pt x="698" y="378"/>
                  </a:cubicBezTo>
                  <a:cubicBezTo>
                    <a:pt x="694" y="376"/>
                    <a:pt x="685" y="373"/>
                    <a:pt x="673" y="367"/>
                  </a:cubicBezTo>
                  <a:cubicBezTo>
                    <a:pt x="660" y="361"/>
                    <a:pt x="644" y="352"/>
                    <a:pt x="625" y="340"/>
                  </a:cubicBezTo>
                  <a:cubicBezTo>
                    <a:pt x="607" y="328"/>
                    <a:pt x="585" y="312"/>
                    <a:pt x="564" y="292"/>
                  </a:cubicBezTo>
                  <a:cubicBezTo>
                    <a:pt x="561" y="290"/>
                    <a:pt x="558" y="287"/>
                    <a:pt x="556" y="284"/>
                  </a:cubicBezTo>
                  <a:cubicBezTo>
                    <a:pt x="554" y="283"/>
                    <a:pt x="554" y="283"/>
                    <a:pt x="554" y="283"/>
                  </a:cubicBezTo>
                  <a:cubicBezTo>
                    <a:pt x="552" y="281"/>
                    <a:pt x="552" y="281"/>
                    <a:pt x="552" y="281"/>
                  </a:cubicBezTo>
                  <a:cubicBezTo>
                    <a:pt x="551" y="280"/>
                    <a:pt x="549" y="278"/>
                    <a:pt x="548" y="277"/>
                  </a:cubicBezTo>
                  <a:cubicBezTo>
                    <a:pt x="542" y="272"/>
                    <a:pt x="536" y="267"/>
                    <a:pt x="531" y="261"/>
                  </a:cubicBezTo>
                  <a:cubicBezTo>
                    <a:pt x="519" y="251"/>
                    <a:pt x="507" y="239"/>
                    <a:pt x="494" y="228"/>
                  </a:cubicBezTo>
                  <a:cubicBezTo>
                    <a:pt x="465" y="200"/>
                    <a:pt x="435" y="172"/>
                    <a:pt x="404" y="144"/>
                  </a:cubicBezTo>
                  <a:cubicBezTo>
                    <a:pt x="389" y="130"/>
                    <a:pt x="374" y="115"/>
                    <a:pt x="358" y="101"/>
                  </a:cubicBezTo>
                  <a:cubicBezTo>
                    <a:pt x="344" y="87"/>
                    <a:pt x="327" y="75"/>
                    <a:pt x="309" y="66"/>
                  </a:cubicBezTo>
                  <a:cubicBezTo>
                    <a:pt x="291" y="57"/>
                    <a:pt x="272" y="50"/>
                    <a:pt x="252" y="46"/>
                  </a:cubicBezTo>
                  <a:cubicBezTo>
                    <a:pt x="242" y="45"/>
                    <a:pt x="232" y="43"/>
                    <a:pt x="222" y="43"/>
                  </a:cubicBezTo>
                  <a:cubicBezTo>
                    <a:pt x="217" y="43"/>
                    <a:pt x="211" y="43"/>
                    <a:pt x="206" y="43"/>
                  </a:cubicBezTo>
                  <a:cubicBezTo>
                    <a:pt x="190" y="43"/>
                    <a:pt x="190" y="43"/>
                    <a:pt x="190" y="43"/>
                  </a:cubicBezTo>
                  <a:cubicBezTo>
                    <a:pt x="148" y="43"/>
                    <a:pt x="73" y="43"/>
                    <a:pt x="64" y="43"/>
                  </a:cubicBezTo>
                  <a:cubicBezTo>
                    <a:pt x="56" y="43"/>
                    <a:pt x="47" y="43"/>
                    <a:pt x="47" y="60"/>
                  </a:cubicBezTo>
                  <a:cubicBezTo>
                    <a:pt x="47" y="78"/>
                    <a:pt x="48" y="278"/>
                    <a:pt x="48" y="386"/>
                  </a:cubicBezTo>
                  <a:cubicBezTo>
                    <a:pt x="49" y="496"/>
                    <a:pt x="49" y="605"/>
                    <a:pt x="50" y="710"/>
                  </a:cubicBezTo>
                  <a:cubicBezTo>
                    <a:pt x="50" y="725"/>
                    <a:pt x="50" y="740"/>
                    <a:pt x="50" y="754"/>
                  </a:cubicBezTo>
                  <a:cubicBezTo>
                    <a:pt x="50" y="767"/>
                    <a:pt x="54" y="779"/>
                    <a:pt x="60" y="790"/>
                  </a:cubicBezTo>
                  <a:cubicBezTo>
                    <a:pt x="72" y="813"/>
                    <a:pt x="94" y="832"/>
                    <a:pt x="118" y="844"/>
                  </a:cubicBezTo>
                  <a:cubicBezTo>
                    <a:pt x="130" y="851"/>
                    <a:pt x="144" y="855"/>
                    <a:pt x="157" y="858"/>
                  </a:cubicBezTo>
                  <a:cubicBezTo>
                    <a:pt x="164" y="860"/>
                    <a:pt x="170" y="860"/>
                    <a:pt x="177" y="861"/>
                  </a:cubicBezTo>
                  <a:cubicBezTo>
                    <a:pt x="179" y="861"/>
                    <a:pt x="180" y="861"/>
                    <a:pt x="182" y="861"/>
                  </a:cubicBezTo>
                  <a:cubicBezTo>
                    <a:pt x="188" y="861"/>
                    <a:pt x="188" y="861"/>
                    <a:pt x="188" y="861"/>
                  </a:cubicBezTo>
                  <a:cubicBezTo>
                    <a:pt x="199" y="861"/>
                    <a:pt x="199" y="861"/>
                    <a:pt x="199" y="861"/>
                  </a:cubicBezTo>
                  <a:cubicBezTo>
                    <a:pt x="207" y="861"/>
                    <a:pt x="214" y="861"/>
                    <a:pt x="221" y="860"/>
                  </a:cubicBezTo>
                  <a:cubicBezTo>
                    <a:pt x="227" y="860"/>
                    <a:pt x="227" y="860"/>
                    <a:pt x="227" y="860"/>
                  </a:cubicBezTo>
                  <a:cubicBezTo>
                    <a:pt x="230" y="860"/>
                    <a:pt x="230" y="860"/>
                    <a:pt x="230" y="860"/>
                  </a:cubicBezTo>
                  <a:cubicBezTo>
                    <a:pt x="232" y="860"/>
                    <a:pt x="235" y="860"/>
                    <a:pt x="237" y="859"/>
                  </a:cubicBezTo>
                  <a:cubicBezTo>
                    <a:pt x="239" y="859"/>
                    <a:pt x="241" y="859"/>
                    <a:pt x="243" y="858"/>
                  </a:cubicBezTo>
                  <a:cubicBezTo>
                    <a:pt x="245" y="857"/>
                    <a:pt x="247" y="855"/>
                    <a:pt x="247" y="853"/>
                  </a:cubicBezTo>
                  <a:cubicBezTo>
                    <a:pt x="248" y="851"/>
                    <a:pt x="248" y="849"/>
                    <a:pt x="248" y="847"/>
                  </a:cubicBezTo>
                  <a:cubicBezTo>
                    <a:pt x="248" y="840"/>
                    <a:pt x="248" y="840"/>
                    <a:pt x="248" y="840"/>
                  </a:cubicBezTo>
                  <a:cubicBezTo>
                    <a:pt x="249" y="780"/>
                    <a:pt x="249" y="721"/>
                    <a:pt x="249" y="664"/>
                  </a:cubicBezTo>
                  <a:cubicBezTo>
                    <a:pt x="250" y="649"/>
                    <a:pt x="250" y="635"/>
                    <a:pt x="250" y="621"/>
                  </a:cubicBezTo>
                  <a:cubicBezTo>
                    <a:pt x="250" y="617"/>
                    <a:pt x="250" y="614"/>
                    <a:pt x="250" y="610"/>
                  </a:cubicBezTo>
                  <a:cubicBezTo>
                    <a:pt x="250" y="605"/>
                    <a:pt x="250" y="605"/>
                    <a:pt x="250" y="605"/>
                  </a:cubicBezTo>
                  <a:cubicBezTo>
                    <a:pt x="250" y="603"/>
                    <a:pt x="250" y="601"/>
                    <a:pt x="250" y="599"/>
                  </a:cubicBezTo>
                  <a:cubicBezTo>
                    <a:pt x="250" y="592"/>
                    <a:pt x="251" y="584"/>
                    <a:pt x="253" y="576"/>
                  </a:cubicBezTo>
                  <a:cubicBezTo>
                    <a:pt x="260" y="546"/>
                    <a:pt x="277" y="519"/>
                    <a:pt x="300" y="501"/>
                  </a:cubicBezTo>
                  <a:cubicBezTo>
                    <a:pt x="311" y="492"/>
                    <a:pt x="325" y="484"/>
                    <a:pt x="339" y="480"/>
                  </a:cubicBezTo>
                  <a:cubicBezTo>
                    <a:pt x="347" y="477"/>
                    <a:pt x="354" y="475"/>
                    <a:pt x="362" y="474"/>
                  </a:cubicBezTo>
                  <a:cubicBezTo>
                    <a:pt x="370" y="473"/>
                    <a:pt x="378" y="473"/>
                    <a:pt x="385" y="473"/>
                  </a:cubicBezTo>
                  <a:cubicBezTo>
                    <a:pt x="415" y="473"/>
                    <a:pt x="445" y="481"/>
                    <a:pt x="471" y="492"/>
                  </a:cubicBezTo>
                  <a:cubicBezTo>
                    <a:pt x="498" y="503"/>
                    <a:pt x="522" y="519"/>
                    <a:pt x="544" y="535"/>
                  </a:cubicBezTo>
                  <a:cubicBezTo>
                    <a:pt x="567" y="552"/>
                    <a:pt x="588" y="571"/>
                    <a:pt x="608" y="590"/>
                  </a:cubicBezTo>
                  <a:cubicBezTo>
                    <a:pt x="625" y="606"/>
                    <a:pt x="641" y="622"/>
                    <a:pt x="657" y="637"/>
                  </a:cubicBezTo>
                  <a:cubicBezTo>
                    <a:pt x="664" y="644"/>
                    <a:pt x="672" y="650"/>
                    <a:pt x="679" y="657"/>
                  </a:cubicBezTo>
                  <a:cubicBezTo>
                    <a:pt x="686" y="663"/>
                    <a:pt x="692" y="669"/>
                    <a:pt x="698" y="675"/>
                  </a:cubicBezTo>
                  <a:cubicBezTo>
                    <a:pt x="716" y="692"/>
                    <a:pt x="729" y="705"/>
                    <a:pt x="742" y="718"/>
                  </a:cubicBezTo>
                  <a:cubicBezTo>
                    <a:pt x="755" y="732"/>
                    <a:pt x="744" y="726"/>
                    <a:pt x="711" y="700"/>
                  </a:cubicBezTo>
                  <a:close/>
                  <a:moveTo>
                    <a:pt x="1819" y="841"/>
                  </a:moveTo>
                  <a:cubicBezTo>
                    <a:pt x="1818" y="816"/>
                    <a:pt x="1817" y="792"/>
                    <a:pt x="1816" y="765"/>
                  </a:cubicBezTo>
                  <a:cubicBezTo>
                    <a:pt x="1813" y="676"/>
                    <a:pt x="1810" y="518"/>
                    <a:pt x="1807" y="449"/>
                  </a:cubicBezTo>
                  <a:cubicBezTo>
                    <a:pt x="1805" y="411"/>
                    <a:pt x="1804" y="390"/>
                    <a:pt x="1802" y="426"/>
                  </a:cubicBezTo>
                  <a:cubicBezTo>
                    <a:pt x="1802" y="439"/>
                    <a:pt x="1801" y="448"/>
                    <a:pt x="1801" y="462"/>
                  </a:cubicBezTo>
                  <a:cubicBezTo>
                    <a:pt x="1798" y="501"/>
                    <a:pt x="1797" y="602"/>
                    <a:pt x="1795" y="654"/>
                  </a:cubicBezTo>
                  <a:cubicBezTo>
                    <a:pt x="1795" y="657"/>
                    <a:pt x="1795" y="659"/>
                    <a:pt x="1795" y="662"/>
                  </a:cubicBezTo>
                  <a:cubicBezTo>
                    <a:pt x="1794" y="686"/>
                    <a:pt x="1793" y="710"/>
                    <a:pt x="1792" y="737"/>
                  </a:cubicBezTo>
                  <a:cubicBezTo>
                    <a:pt x="1792" y="742"/>
                    <a:pt x="1792" y="747"/>
                    <a:pt x="1792" y="752"/>
                  </a:cubicBezTo>
                  <a:cubicBezTo>
                    <a:pt x="1792" y="769"/>
                    <a:pt x="1791" y="787"/>
                    <a:pt x="1791" y="805"/>
                  </a:cubicBezTo>
                  <a:cubicBezTo>
                    <a:pt x="1791" y="814"/>
                    <a:pt x="1790" y="824"/>
                    <a:pt x="1790" y="833"/>
                  </a:cubicBezTo>
                  <a:cubicBezTo>
                    <a:pt x="1790" y="835"/>
                    <a:pt x="1790" y="837"/>
                    <a:pt x="1790" y="839"/>
                  </a:cubicBezTo>
                  <a:cubicBezTo>
                    <a:pt x="1790" y="841"/>
                    <a:pt x="1790" y="842"/>
                    <a:pt x="1790" y="844"/>
                  </a:cubicBezTo>
                  <a:cubicBezTo>
                    <a:pt x="1790" y="847"/>
                    <a:pt x="1790" y="850"/>
                    <a:pt x="1789" y="853"/>
                  </a:cubicBezTo>
                  <a:cubicBezTo>
                    <a:pt x="1788" y="855"/>
                    <a:pt x="1787" y="857"/>
                    <a:pt x="1785" y="859"/>
                  </a:cubicBezTo>
                  <a:cubicBezTo>
                    <a:pt x="1783" y="860"/>
                    <a:pt x="1780" y="860"/>
                    <a:pt x="1778" y="860"/>
                  </a:cubicBezTo>
                  <a:cubicBezTo>
                    <a:pt x="1776" y="860"/>
                    <a:pt x="1773" y="861"/>
                    <a:pt x="1771" y="861"/>
                  </a:cubicBezTo>
                  <a:cubicBezTo>
                    <a:pt x="1768" y="861"/>
                    <a:pt x="1765" y="861"/>
                    <a:pt x="1762" y="861"/>
                  </a:cubicBezTo>
                  <a:cubicBezTo>
                    <a:pt x="1754" y="861"/>
                    <a:pt x="1746" y="861"/>
                    <a:pt x="1737" y="861"/>
                  </a:cubicBezTo>
                  <a:cubicBezTo>
                    <a:pt x="1733" y="861"/>
                    <a:pt x="1729" y="861"/>
                    <a:pt x="1725" y="861"/>
                  </a:cubicBezTo>
                  <a:cubicBezTo>
                    <a:pt x="1721" y="861"/>
                    <a:pt x="1717" y="860"/>
                    <a:pt x="1713" y="860"/>
                  </a:cubicBezTo>
                  <a:cubicBezTo>
                    <a:pt x="1698" y="858"/>
                    <a:pt x="1682" y="853"/>
                    <a:pt x="1666" y="846"/>
                  </a:cubicBezTo>
                  <a:cubicBezTo>
                    <a:pt x="1651" y="838"/>
                    <a:pt x="1636" y="828"/>
                    <a:pt x="1623" y="815"/>
                  </a:cubicBezTo>
                  <a:cubicBezTo>
                    <a:pt x="1610" y="802"/>
                    <a:pt x="1600" y="786"/>
                    <a:pt x="1596" y="769"/>
                  </a:cubicBezTo>
                  <a:cubicBezTo>
                    <a:pt x="1595" y="765"/>
                    <a:pt x="1595" y="760"/>
                    <a:pt x="1595" y="756"/>
                  </a:cubicBezTo>
                  <a:cubicBezTo>
                    <a:pt x="1595" y="755"/>
                    <a:pt x="1595" y="754"/>
                    <a:pt x="1595" y="753"/>
                  </a:cubicBezTo>
                  <a:cubicBezTo>
                    <a:pt x="1595" y="748"/>
                    <a:pt x="1595" y="748"/>
                    <a:pt x="1595" y="748"/>
                  </a:cubicBezTo>
                  <a:cubicBezTo>
                    <a:pt x="1595" y="745"/>
                    <a:pt x="1595" y="742"/>
                    <a:pt x="1595" y="739"/>
                  </a:cubicBezTo>
                  <a:cubicBezTo>
                    <a:pt x="1595" y="728"/>
                    <a:pt x="1595" y="716"/>
                    <a:pt x="1596" y="703"/>
                  </a:cubicBezTo>
                  <a:cubicBezTo>
                    <a:pt x="1596" y="679"/>
                    <a:pt x="1596" y="654"/>
                    <a:pt x="1597" y="628"/>
                  </a:cubicBezTo>
                  <a:cubicBezTo>
                    <a:pt x="1597" y="622"/>
                    <a:pt x="1597" y="615"/>
                    <a:pt x="1597" y="609"/>
                  </a:cubicBezTo>
                  <a:cubicBezTo>
                    <a:pt x="1597" y="604"/>
                    <a:pt x="1597" y="604"/>
                    <a:pt x="1597" y="604"/>
                  </a:cubicBezTo>
                  <a:cubicBezTo>
                    <a:pt x="1597" y="602"/>
                    <a:pt x="1597" y="600"/>
                    <a:pt x="1597" y="598"/>
                  </a:cubicBezTo>
                  <a:cubicBezTo>
                    <a:pt x="1597" y="594"/>
                    <a:pt x="1597" y="590"/>
                    <a:pt x="1596" y="586"/>
                  </a:cubicBezTo>
                  <a:cubicBezTo>
                    <a:pt x="1594" y="570"/>
                    <a:pt x="1590" y="555"/>
                    <a:pt x="1583" y="540"/>
                  </a:cubicBezTo>
                  <a:cubicBezTo>
                    <a:pt x="1572" y="518"/>
                    <a:pt x="1554" y="498"/>
                    <a:pt x="1532" y="483"/>
                  </a:cubicBezTo>
                  <a:cubicBezTo>
                    <a:pt x="1521" y="476"/>
                    <a:pt x="1509" y="470"/>
                    <a:pt x="1496" y="466"/>
                  </a:cubicBezTo>
                  <a:cubicBezTo>
                    <a:pt x="1483" y="462"/>
                    <a:pt x="1469" y="460"/>
                    <a:pt x="1456" y="460"/>
                  </a:cubicBezTo>
                  <a:cubicBezTo>
                    <a:pt x="1430" y="460"/>
                    <a:pt x="1404" y="464"/>
                    <a:pt x="1379" y="472"/>
                  </a:cubicBezTo>
                  <a:cubicBezTo>
                    <a:pt x="1353" y="480"/>
                    <a:pt x="1330" y="493"/>
                    <a:pt x="1307" y="507"/>
                  </a:cubicBezTo>
                  <a:cubicBezTo>
                    <a:pt x="1262" y="536"/>
                    <a:pt x="1223" y="573"/>
                    <a:pt x="1184" y="609"/>
                  </a:cubicBezTo>
                  <a:cubicBezTo>
                    <a:pt x="1174" y="618"/>
                    <a:pt x="1164" y="627"/>
                    <a:pt x="1154" y="636"/>
                  </a:cubicBezTo>
                  <a:cubicBezTo>
                    <a:pt x="1144" y="645"/>
                    <a:pt x="1133" y="654"/>
                    <a:pt x="1123" y="664"/>
                  </a:cubicBezTo>
                  <a:cubicBezTo>
                    <a:pt x="1102" y="683"/>
                    <a:pt x="1081" y="702"/>
                    <a:pt x="1059" y="720"/>
                  </a:cubicBezTo>
                  <a:cubicBezTo>
                    <a:pt x="1042" y="734"/>
                    <a:pt x="1025" y="748"/>
                    <a:pt x="1007" y="759"/>
                  </a:cubicBezTo>
                  <a:cubicBezTo>
                    <a:pt x="989" y="771"/>
                    <a:pt x="970" y="780"/>
                    <a:pt x="952" y="785"/>
                  </a:cubicBezTo>
                  <a:cubicBezTo>
                    <a:pt x="933" y="790"/>
                    <a:pt x="914" y="791"/>
                    <a:pt x="896" y="787"/>
                  </a:cubicBezTo>
                  <a:cubicBezTo>
                    <a:pt x="877" y="783"/>
                    <a:pt x="859" y="775"/>
                    <a:pt x="841" y="764"/>
                  </a:cubicBezTo>
                  <a:cubicBezTo>
                    <a:pt x="822" y="753"/>
                    <a:pt x="805" y="740"/>
                    <a:pt x="787" y="726"/>
                  </a:cubicBezTo>
                  <a:cubicBezTo>
                    <a:pt x="770" y="711"/>
                    <a:pt x="753" y="696"/>
                    <a:pt x="735" y="680"/>
                  </a:cubicBezTo>
                  <a:cubicBezTo>
                    <a:pt x="718" y="664"/>
                    <a:pt x="701" y="648"/>
                    <a:pt x="683" y="632"/>
                  </a:cubicBezTo>
                  <a:cubicBezTo>
                    <a:pt x="666" y="617"/>
                    <a:pt x="649" y="601"/>
                    <a:pt x="632" y="584"/>
                  </a:cubicBezTo>
                  <a:cubicBezTo>
                    <a:pt x="597" y="552"/>
                    <a:pt x="560" y="518"/>
                    <a:pt x="515" y="492"/>
                  </a:cubicBezTo>
                  <a:cubicBezTo>
                    <a:pt x="493" y="480"/>
                    <a:pt x="469" y="469"/>
                    <a:pt x="443" y="462"/>
                  </a:cubicBezTo>
                  <a:cubicBezTo>
                    <a:pt x="430" y="458"/>
                    <a:pt x="416" y="456"/>
                    <a:pt x="403" y="455"/>
                  </a:cubicBezTo>
                  <a:cubicBezTo>
                    <a:pt x="396" y="454"/>
                    <a:pt x="389" y="454"/>
                    <a:pt x="382" y="454"/>
                  </a:cubicBezTo>
                  <a:cubicBezTo>
                    <a:pt x="375" y="454"/>
                    <a:pt x="368" y="454"/>
                    <a:pt x="360" y="455"/>
                  </a:cubicBezTo>
                  <a:cubicBezTo>
                    <a:pt x="330" y="460"/>
                    <a:pt x="302" y="473"/>
                    <a:pt x="281" y="494"/>
                  </a:cubicBezTo>
                  <a:cubicBezTo>
                    <a:pt x="259" y="514"/>
                    <a:pt x="243" y="541"/>
                    <a:pt x="236" y="570"/>
                  </a:cubicBezTo>
                  <a:cubicBezTo>
                    <a:pt x="235" y="577"/>
                    <a:pt x="233" y="584"/>
                    <a:pt x="233" y="592"/>
                  </a:cubicBezTo>
                  <a:cubicBezTo>
                    <a:pt x="232" y="595"/>
                    <a:pt x="232" y="599"/>
                    <a:pt x="232" y="603"/>
                  </a:cubicBezTo>
                  <a:cubicBezTo>
                    <a:pt x="232" y="612"/>
                    <a:pt x="232" y="612"/>
                    <a:pt x="232" y="612"/>
                  </a:cubicBezTo>
                  <a:cubicBezTo>
                    <a:pt x="232" y="623"/>
                    <a:pt x="232" y="635"/>
                    <a:pt x="232" y="647"/>
                  </a:cubicBezTo>
                  <a:cubicBezTo>
                    <a:pt x="232" y="670"/>
                    <a:pt x="232" y="693"/>
                    <a:pt x="232" y="716"/>
                  </a:cubicBezTo>
                  <a:cubicBezTo>
                    <a:pt x="232" y="788"/>
                    <a:pt x="232" y="788"/>
                    <a:pt x="232" y="788"/>
                  </a:cubicBezTo>
                  <a:cubicBezTo>
                    <a:pt x="232" y="824"/>
                    <a:pt x="232" y="824"/>
                    <a:pt x="232" y="824"/>
                  </a:cubicBezTo>
                  <a:cubicBezTo>
                    <a:pt x="232" y="838"/>
                    <a:pt x="232" y="838"/>
                    <a:pt x="232" y="838"/>
                  </a:cubicBezTo>
                  <a:cubicBezTo>
                    <a:pt x="232" y="839"/>
                    <a:pt x="232" y="840"/>
                    <a:pt x="232" y="841"/>
                  </a:cubicBezTo>
                  <a:cubicBezTo>
                    <a:pt x="232" y="842"/>
                    <a:pt x="231" y="843"/>
                    <a:pt x="230" y="843"/>
                  </a:cubicBezTo>
                  <a:cubicBezTo>
                    <a:pt x="229" y="844"/>
                    <a:pt x="228" y="844"/>
                    <a:pt x="227" y="844"/>
                  </a:cubicBezTo>
                  <a:cubicBezTo>
                    <a:pt x="225" y="844"/>
                    <a:pt x="225" y="844"/>
                    <a:pt x="225" y="844"/>
                  </a:cubicBezTo>
                  <a:cubicBezTo>
                    <a:pt x="217" y="844"/>
                    <a:pt x="217" y="844"/>
                    <a:pt x="217" y="844"/>
                  </a:cubicBezTo>
                  <a:cubicBezTo>
                    <a:pt x="211" y="844"/>
                    <a:pt x="206" y="844"/>
                    <a:pt x="200" y="844"/>
                  </a:cubicBezTo>
                  <a:cubicBezTo>
                    <a:pt x="182" y="844"/>
                    <a:pt x="182" y="844"/>
                    <a:pt x="182" y="844"/>
                  </a:cubicBezTo>
                  <a:cubicBezTo>
                    <a:pt x="178" y="844"/>
                    <a:pt x="173" y="844"/>
                    <a:pt x="169" y="843"/>
                  </a:cubicBezTo>
                  <a:cubicBezTo>
                    <a:pt x="159" y="842"/>
                    <a:pt x="150" y="840"/>
                    <a:pt x="141" y="836"/>
                  </a:cubicBezTo>
                  <a:cubicBezTo>
                    <a:pt x="123" y="830"/>
                    <a:pt x="106" y="819"/>
                    <a:pt x="93" y="806"/>
                  </a:cubicBezTo>
                  <a:cubicBezTo>
                    <a:pt x="79" y="792"/>
                    <a:pt x="70" y="777"/>
                    <a:pt x="68" y="762"/>
                  </a:cubicBezTo>
                  <a:cubicBezTo>
                    <a:pt x="68" y="760"/>
                    <a:pt x="68" y="758"/>
                    <a:pt x="68" y="756"/>
                  </a:cubicBezTo>
                  <a:cubicBezTo>
                    <a:pt x="68" y="755"/>
                    <a:pt x="68" y="754"/>
                    <a:pt x="68" y="754"/>
                  </a:cubicBezTo>
                  <a:cubicBezTo>
                    <a:pt x="67" y="749"/>
                    <a:pt x="67" y="749"/>
                    <a:pt x="67" y="749"/>
                  </a:cubicBezTo>
                  <a:cubicBezTo>
                    <a:pt x="68" y="731"/>
                    <a:pt x="68" y="731"/>
                    <a:pt x="68" y="731"/>
                  </a:cubicBezTo>
                  <a:cubicBezTo>
                    <a:pt x="68" y="696"/>
                    <a:pt x="68" y="696"/>
                    <a:pt x="68" y="696"/>
                  </a:cubicBezTo>
                  <a:cubicBezTo>
                    <a:pt x="68" y="672"/>
                    <a:pt x="68" y="648"/>
                    <a:pt x="68" y="624"/>
                  </a:cubicBezTo>
                  <a:cubicBezTo>
                    <a:pt x="68" y="438"/>
                    <a:pt x="68" y="73"/>
                    <a:pt x="68" y="69"/>
                  </a:cubicBezTo>
                  <a:cubicBezTo>
                    <a:pt x="68" y="65"/>
                    <a:pt x="70" y="64"/>
                    <a:pt x="74" y="64"/>
                  </a:cubicBezTo>
                  <a:cubicBezTo>
                    <a:pt x="77" y="64"/>
                    <a:pt x="122" y="64"/>
                    <a:pt x="147" y="64"/>
                  </a:cubicBezTo>
                  <a:cubicBezTo>
                    <a:pt x="161" y="64"/>
                    <a:pt x="176" y="64"/>
                    <a:pt x="191" y="64"/>
                  </a:cubicBezTo>
                  <a:cubicBezTo>
                    <a:pt x="213" y="64"/>
                    <a:pt x="213" y="64"/>
                    <a:pt x="213" y="64"/>
                  </a:cubicBezTo>
                  <a:cubicBezTo>
                    <a:pt x="217" y="64"/>
                    <a:pt x="219" y="64"/>
                    <a:pt x="222" y="64"/>
                  </a:cubicBezTo>
                  <a:cubicBezTo>
                    <a:pt x="225" y="65"/>
                    <a:pt x="228" y="65"/>
                    <a:pt x="231" y="65"/>
                  </a:cubicBezTo>
                  <a:cubicBezTo>
                    <a:pt x="256" y="68"/>
                    <a:pt x="280" y="75"/>
                    <a:pt x="302" y="87"/>
                  </a:cubicBezTo>
                  <a:cubicBezTo>
                    <a:pt x="313" y="92"/>
                    <a:pt x="323" y="99"/>
                    <a:pt x="332" y="107"/>
                  </a:cubicBezTo>
                  <a:cubicBezTo>
                    <a:pt x="335" y="109"/>
                    <a:pt x="337" y="111"/>
                    <a:pt x="339" y="113"/>
                  </a:cubicBezTo>
                  <a:cubicBezTo>
                    <a:pt x="347" y="120"/>
                    <a:pt x="347" y="120"/>
                    <a:pt x="347" y="120"/>
                  </a:cubicBezTo>
                  <a:cubicBezTo>
                    <a:pt x="363" y="135"/>
                    <a:pt x="363" y="135"/>
                    <a:pt x="363" y="135"/>
                  </a:cubicBezTo>
                  <a:cubicBezTo>
                    <a:pt x="421" y="190"/>
                    <a:pt x="480" y="245"/>
                    <a:pt x="538" y="298"/>
                  </a:cubicBezTo>
                  <a:cubicBezTo>
                    <a:pt x="539" y="298"/>
                    <a:pt x="539" y="298"/>
                    <a:pt x="539" y="298"/>
                  </a:cubicBezTo>
                  <a:cubicBezTo>
                    <a:pt x="540" y="300"/>
                    <a:pt x="540" y="300"/>
                    <a:pt x="540" y="300"/>
                  </a:cubicBezTo>
                  <a:cubicBezTo>
                    <a:pt x="543" y="303"/>
                    <a:pt x="543" y="303"/>
                    <a:pt x="543" y="303"/>
                  </a:cubicBezTo>
                  <a:cubicBezTo>
                    <a:pt x="548" y="308"/>
                    <a:pt x="548" y="308"/>
                    <a:pt x="548" y="308"/>
                  </a:cubicBezTo>
                  <a:cubicBezTo>
                    <a:pt x="552" y="312"/>
                    <a:pt x="556" y="315"/>
                    <a:pt x="560" y="318"/>
                  </a:cubicBezTo>
                  <a:cubicBezTo>
                    <a:pt x="568" y="325"/>
                    <a:pt x="576" y="332"/>
                    <a:pt x="584" y="338"/>
                  </a:cubicBezTo>
                  <a:cubicBezTo>
                    <a:pt x="600" y="351"/>
                    <a:pt x="617" y="362"/>
                    <a:pt x="635" y="373"/>
                  </a:cubicBezTo>
                  <a:cubicBezTo>
                    <a:pt x="669" y="393"/>
                    <a:pt x="706" y="409"/>
                    <a:pt x="742" y="421"/>
                  </a:cubicBezTo>
                  <a:cubicBezTo>
                    <a:pt x="778" y="433"/>
                    <a:pt x="815" y="440"/>
                    <a:pt x="850" y="444"/>
                  </a:cubicBezTo>
                  <a:cubicBezTo>
                    <a:pt x="885" y="447"/>
                    <a:pt x="918" y="448"/>
                    <a:pt x="950" y="446"/>
                  </a:cubicBezTo>
                  <a:cubicBezTo>
                    <a:pt x="1014" y="441"/>
                    <a:pt x="1069" y="427"/>
                    <a:pt x="1113" y="409"/>
                  </a:cubicBezTo>
                  <a:cubicBezTo>
                    <a:pt x="1153" y="393"/>
                    <a:pt x="1190" y="373"/>
                    <a:pt x="1221" y="350"/>
                  </a:cubicBezTo>
                  <a:cubicBezTo>
                    <a:pt x="1237" y="339"/>
                    <a:pt x="1252" y="327"/>
                    <a:pt x="1266" y="314"/>
                  </a:cubicBezTo>
                  <a:cubicBezTo>
                    <a:pt x="1273" y="308"/>
                    <a:pt x="1280" y="302"/>
                    <a:pt x="1286" y="295"/>
                  </a:cubicBezTo>
                  <a:cubicBezTo>
                    <a:pt x="1293" y="289"/>
                    <a:pt x="1299" y="283"/>
                    <a:pt x="1305" y="277"/>
                  </a:cubicBezTo>
                  <a:cubicBezTo>
                    <a:pt x="1389" y="194"/>
                    <a:pt x="1455" y="129"/>
                    <a:pt x="1485" y="97"/>
                  </a:cubicBezTo>
                  <a:cubicBezTo>
                    <a:pt x="1500" y="82"/>
                    <a:pt x="1512" y="69"/>
                    <a:pt x="1523" y="58"/>
                  </a:cubicBezTo>
                  <a:cubicBezTo>
                    <a:pt x="1524" y="56"/>
                    <a:pt x="1525" y="55"/>
                    <a:pt x="1526" y="54"/>
                  </a:cubicBezTo>
                  <a:cubicBezTo>
                    <a:pt x="1527" y="53"/>
                    <a:pt x="1528" y="52"/>
                    <a:pt x="1529" y="50"/>
                  </a:cubicBezTo>
                  <a:cubicBezTo>
                    <a:pt x="1530" y="50"/>
                    <a:pt x="1530" y="49"/>
                    <a:pt x="1531" y="49"/>
                  </a:cubicBezTo>
                  <a:cubicBezTo>
                    <a:pt x="1531" y="48"/>
                    <a:pt x="1532" y="48"/>
                    <a:pt x="1532" y="48"/>
                  </a:cubicBezTo>
                  <a:cubicBezTo>
                    <a:pt x="1533" y="46"/>
                    <a:pt x="1546" y="39"/>
                    <a:pt x="1548" y="38"/>
                  </a:cubicBezTo>
                  <a:cubicBezTo>
                    <a:pt x="1548" y="37"/>
                    <a:pt x="1562" y="31"/>
                    <a:pt x="1564" y="30"/>
                  </a:cubicBezTo>
                  <a:cubicBezTo>
                    <a:pt x="1570" y="27"/>
                    <a:pt x="1557" y="23"/>
                    <a:pt x="1548" y="23"/>
                  </a:cubicBezTo>
                  <a:cubicBezTo>
                    <a:pt x="1538" y="23"/>
                    <a:pt x="1527" y="27"/>
                    <a:pt x="1524" y="29"/>
                  </a:cubicBezTo>
                  <a:cubicBezTo>
                    <a:pt x="1517" y="33"/>
                    <a:pt x="1509" y="42"/>
                    <a:pt x="1503" y="46"/>
                  </a:cubicBezTo>
                  <a:cubicBezTo>
                    <a:pt x="1495" y="53"/>
                    <a:pt x="1485" y="61"/>
                    <a:pt x="1474" y="70"/>
                  </a:cubicBezTo>
                  <a:cubicBezTo>
                    <a:pt x="1445" y="94"/>
                    <a:pt x="1362" y="170"/>
                    <a:pt x="1256" y="268"/>
                  </a:cubicBezTo>
                  <a:cubicBezTo>
                    <a:pt x="1252" y="271"/>
                    <a:pt x="1249" y="274"/>
                    <a:pt x="1246" y="277"/>
                  </a:cubicBezTo>
                  <a:cubicBezTo>
                    <a:pt x="1243" y="280"/>
                    <a:pt x="1239" y="283"/>
                    <a:pt x="1236" y="285"/>
                  </a:cubicBezTo>
                  <a:cubicBezTo>
                    <a:pt x="1229" y="291"/>
                    <a:pt x="1222" y="297"/>
                    <a:pt x="1215" y="302"/>
                  </a:cubicBezTo>
                  <a:cubicBezTo>
                    <a:pt x="1201" y="313"/>
                    <a:pt x="1185" y="323"/>
                    <a:pt x="1169" y="332"/>
                  </a:cubicBezTo>
                  <a:cubicBezTo>
                    <a:pt x="1136" y="351"/>
                    <a:pt x="1100" y="366"/>
                    <a:pt x="1062" y="377"/>
                  </a:cubicBezTo>
                  <a:cubicBezTo>
                    <a:pt x="987" y="398"/>
                    <a:pt x="904" y="402"/>
                    <a:pt x="827" y="387"/>
                  </a:cubicBezTo>
                  <a:cubicBezTo>
                    <a:pt x="758" y="374"/>
                    <a:pt x="692" y="347"/>
                    <a:pt x="636" y="306"/>
                  </a:cubicBezTo>
                  <a:cubicBezTo>
                    <a:pt x="622" y="296"/>
                    <a:pt x="608" y="285"/>
                    <a:pt x="596" y="273"/>
                  </a:cubicBezTo>
                  <a:cubicBezTo>
                    <a:pt x="593" y="270"/>
                    <a:pt x="589" y="267"/>
                    <a:pt x="586" y="264"/>
                  </a:cubicBezTo>
                  <a:cubicBezTo>
                    <a:pt x="582" y="259"/>
                    <a:pt x="582" y="259"/>
                    <a:pt x="582" y="259"/>
                  </a:cubicBezTo>
                  <a:cubicBezTo>
                    <a:pt x="579" y="257"/>
                    <a:pt x="579" y="257"/>
                    <a:pt x="579" y="257"/>
                  </a:cubicBezTo>
                  <a:cubicBezTo>
                    <a:pt x="576" y="254"/>
                    <a:pt x="576" y="254"/>
                    <a:pt x="576" y="254"/>
                  </a:cubicBezTo>
                  <a:cubicBezTo>
                    <a:pt x="556" y="235"/>
                    <a:pt x="556" y="235"/>
                    <a:pt x="556" y="235"/>
                  </a:cubicBezTo>
                  <a:cubicBezTo>
                    <a:pt x="530" y="210"/>
                    <a:pt x="504" y="185"/>
                    <a:pt x="477" y="159"/>
                  </a:cubicBezTo>
                  <a:cubicBezTo>
                    <a:pt x="450" y="134"/>
                    <a:pt x="424" y="108"/>
                    <a:pt x="397" y="83"/>
                  </a:cubicBezTo>
                  <a:cubicBezTo>
                    <a:pt x="387" y="73"/>
                    <a:pt x="387" y="73"/>
                    <a:pt x="387" y="73"/>
                  </a:cubicBezTo>
                  <a:cubicBezTo>
                    <a:pt x="382" y="68"/>
                    <a:pt x="382" y="68"/>
                    <a:pt x="382" y="68"/>
                  </a:cubicBezTo>
                  <a:cubicBezTo>
                    <a:pt x="380" y="66"/>
                    <a:pt x="378" y="64"/>
                    <a:pt x="376" y="63"/>
                  </a:cubicBezTo>
                  <a:cubicBezTo>
                    <a:pt x="368" y="56"/>
                    <a:pt x="360" y="50"/>
                    <a:pt x="351" y="44"/>
                  </a:cubicBezTo>
                  <a:cubicBezTo>
                    <a:pt x="334" y="32"/>
                    <a:pt x="315" y="22"/>
                    <a:pt x="295" y="15"/>
                  </a:cubicBezTo>
                  <a:cubicBezTo>
                    <a:pt x="275" y="8"/>
                    <a:pt x="254" y="4"/>
                    <a:pt x="233" y="2"/>
                  </a:cubicBezTo>
                  <a:cubicBezTo>
                    <a:pt x="230" y="2"/>
                    <a:pt x="228" y="1"/>
                    <a:pt x="225" y="1"/>
                  </a:cubicBezTo>
                  <a:cubicBezTo>
                    <a:pt x="221" y="1"/>
                    <a:pt x="221" y="1"/>
                    <a:pt x="221" y="1"/>
                  </a:cubicBezTo>
                  <a:cubicBezTo>
                    <a:pt x="217" y="1"/>
                    <a:pt x="217" y="1"/>
                    <a:pt x="217" y="1"/>
                  </a:cubicBezTo>
                  <a:cubicBezTo>
                    <a:pt x="202" y="1"/>
                    <a:pt x="202" y="1"/>
                    <a:pt x="202" y="1"/>
                  </a:cubicBezTo>
                  <a:cubicBezTo>
                    <a:pt x="193" y="1"/>
                    <a:pt x="184" y="1"/>
                    <a:pt x="174" y="1"/>
                  </a:cubicBezTo>
                  <a:cubicBezTo>
                    <a:pt x="132" y="0"/>
                    <a:pt x="87" y="0"/>
                    <a:pt x="46" y="0"/>
                  </a:cubicBezTo>
                  <a:cubicBezTo>
                    <a:pt x="5" y="0"/>
                    <a:pt x="3" y="30"/>
                    <a:pt x="3" y="42"/>
                  </a:cubicBezTo>
                  <a:cubicBezTo>
                    <a:pt x="3" y="54"/>
                    <a:pt x="3" y="121"/>
                    <a:pt x="3" y="162"/>
                  </a:cubicBezTo>
                  <a:cubicBezTo>
                    <a:pt x="2" y="262"/>
                    <a:pt x="2" y="363"/>
                    <a:pt x="1" y="470"/>
                  </a:cubicBezTo>
                  <a:cubicBezTo>
                    <a:pt x="1" y="520"/>
                    <a:pt x="1" y="572"/>
                    <a:pt x="0" y="625"/>
                  </a:cubicBezTo>
                  <a:cubicBezTo>
                    <a:pt x="0" y="652"/>
                    <a:pt x="0" y="678"/>
                    <a:pt x="0" y="705"/>
                  </a:cubicBezTo>
                  <a:cubicBezTo>
                    <a:pt x="0" y="719"/>
                    <a:pt x="0" y="732"/>
                    <a:pt x="0" y="746"/>
                  </a:cubicBezTo>
                  <a:cubicBezTo>
                    <a:pt x="0" y="751"/>
                    <a:pt x="0" y="751"/>
                    <a:pt x="0" y="751"/>
                  </a:cubicBezTo>
                  <a:cubicBezTo>
                    <a:pt x="0" y="754"/>
                    <a:pt x="0" y="754"/>
                    <a:pt x="0" y="754"/>
                  </a:cubicBezTo>
                  <a:cubicBezTo>
                    <a:pt x="0" y="757"/>
                    <a:pt x="0" y="757"/>
                    <a:pt x="0" y="757"/>
                  </a:cubicBezTo>
                  <a:cubicBezTo>
                    <a:pt x="0" y="762"/>
                    <a:pt x="1" y="766"/>
                    <a:pt x="1" y="771"/>
                  </a:cubicBezTo>
                  <a:cubicBezTo>
                    <a:pt x="3" y="780"/>
                    <a:pt x="5" y="789"/>
                    <a:pt x="8" y="798"/>
                  </a:cubicBezTo>
                  <a:cubicBezTo>
                    <a:pt x="15" y="815"/>
                    <a:pt x="24" y="830"/>
                    <a:pt x="35" y="843"/>
                  </a:cubicBezTo>
                  <a:cubicBezTo>
                    <a:pt x="47" y="856"/>
                    <a:pt x="59" y="867"/>
                    <a:pt x="73" y="877"/>
                  </a:cubicBezTo>
                  <a:cubicBezTo>
                    <a:pt x="87" y="886"/>
                    <a:pt x="101" y="893"/>
                    <a:pt x="117" y="899"/>
                  </a:cubicBezTo>
                  <a:cubicBezTo>
                    <a:pt x="132" y="905"/>
                    <a:pt x="149" y="909"/>
                    <a:pt x="166" y="911"/>
                  </a:cubicBezTo>
                  <a:cubicBezTo>
                    <a:pt x="170" y="912"/>
                    <a:pt x="175" y="912"/>
                    <a:pt x="179" y="912"/>
                  </a:cubicBezTo>
                  <a:cubicBezTo>
                    <a:pt x="191" y="912"/>
                    <a:pt x="191" y="912"/>
                    <a:pt x="191" y="912"/>
                  </a:cubicBezTo>
                  <a:cubicBezTo>
                    <a:pt x="198" y="912"/>
                    <a:pt x="205" y="912"/>
                    <a:pt x="212" y="912"/>
                  </a:cubicBezTo>
                  <a:cubicBezTo>
                    <a:pt x="224" y="912"/>
                    <a:pt x="224" y="912"/>
                    <a:pt x="224" y="912"/>
                  </a:cubicBezTo>
                  <a:cubicBezTo>
                    <a:pt x="229" y="911"/>
                    <a:pt x="229" y="911"/>
                    <a:pt x="229" y="911"/>
                  </a:cubicBezTo>
                  <a:cubicBezTo>
                    <a:pt x="234" y="911"/>
                    <a:pt x="234" y="911"/>
                    <a:pt x="234" y="911"/>
                  </a:cubicBezTo>
                  <a:cubicBezTo>
                    <a:pt x="239" y="911"/>
                    <a:pt x="239" y="911"/>
                    <a:pt x="239" y="911"/>
                  </a:cubicBezTo>
                  <a:cubicBezTo>
                    <a:pt x="252" y="909"/>
                    <a:pt x="265" y="908"/>
                    <a:pt x="275" y="901"/>
                  </a:cubicBezTo>
                  <a:cubicBezTo>
                    <a:pt x="280" y="899"/>
                    <a:pt x="285" y="894"/>
                    <a:pt x="289" y="889"/>
                  </a:cubicBezTo>
                  <a:cubicBezTo>
                    <a:pt x="292" y="885"/>
                    <a:pt x="295" y="879"/>
                    <a:pt x="297" y="874"/>
                  </a:cubicBezTo>
                  <a:cubicBezTo>
                    <a:pt x="297" y="871"/>
                    <a:pt x="298" y="868"/>
                    <a:pt x="299" y="865"/>
                  </a:cubicBezTo>
                  <a:cubicBezTo>
                    <a:pt x="299" y="861"/>
                    <a:pt x="299" y="858"/>
                    <a:pt x="299" y="855"/>
                  </a:cubicBezTo>
                  <a:cubicBezTo>
                    <a:pt x="299" y="836"/>
                    <a:pt x="299" y="836"/>
                    <a:pt x="299" y="836"/>
                  </a:cubicBezTo>
                  <a:cubicBezTo>
                    <a:pt x="299" y="822"/>
                    <a:pt x="299" y="808"/>
                    <a:pt x="299" y="794"/>
                  </a:cubicBezTo>
                  <a:cubicBezTo>
                    <a:pt x="299" y="737"/>
                    <a:pt x="299" y="680"/>
                    <a:pt x="299" y="623"/>
                  </a:cubicBezTo>
                  <a:cubicBezTo>
                    <a:pt x="300" y="602"/>
                    <a:pt x="300" y="602"/>
                    <a:pt x="300" y="602"/>
                  </a:cubicBezTo>
                  <a:cubicBezTo>
                    <a:pt x="300" y="597"/>
                    <a:pt x="300" y="592"/>
                    <a:pt x="301" y="587"/>
                  </a:cubicBezTo>
                  <a:cubicBezTo>
                    <a:pt x="303" y="577"/>
                    <a:pt x="307" y="568"/>
                    <a:pt x="313" y="559"/>
                  </a:cubicBezTo>
                  <a:cubicBezTo>
                    <a:pt x="324" y="542"/>
                    <a:pt x="341" y="529"/>
                    <a:pt x="360" y="524"/>
                  </a:cubicBezTo>
                  <a:cubicBezTo>
                    <a:pt x="365" y="522"/>
                    <a:pt x="370" y="521"/>
                    <a:pt x="375" y="521"/>
                  </a:cubicBezTo>
                  <a:cubicBezTo>
                    <a:pt x="377" y="521"/>
                    <a:pt x="379" y="521"/>
                    <a:pt x="382" y="521"/>
                  </a:cubicBezTo>
                  <a:cubicBezTo>
                    <a:pt x="385" y="521"/>
                    <a:pt x="388" y="521"/>
                    <a:pt x="391" y="521"/>
                  </a:cubicBezTo>
                  <a:cubicBezTo>
                    <a:pt x="403" y="521"/>
                    <a:pt x="415" y="523"/>
                    <a:pt x="426" y="526"/>
                  </a:cubicBezTo>
                  <a:cubicBezTo>
                    <a:pt x="450" y="532"/>
                    <a:pt x="472" y="543"/>
                    <a:pt x="494" y="557"/>
                  </a:cubicBezTo>
                  <a:cubicBezTo>
                    <a:pt x="516" y="571"/>
                    <a:pt x="537" y="588"/>
                    <a:pt x="557" y="606"/>
                  </a:cubicBezTo>
                  <a:cubicBezTo>
                    <a:pt x="578" y="623"/>
                    <a:pt x="598" y="643"/>
                    <a:pt x="619" y="662"/>
                  </a:cubicBezTo>
                  <a:cubicBezTo>
                    <a:pt x="629" y="672"/>
                    <a:pt x="640" y="682"/>
                    <a:pt x="650" y="690"/>
                  </a:cubicBezTo>
                  <a:cubicBezTo>
                    <a:pt x="661" y="700"/>
                    <a:pt x="671" y="709"/>
                    <a:pt x="681" y="718"/>
                  </a:cubicBezTo>
                  <a:cubicBezTo>
                    <a:pt x="702" y="737"/>
                    <a:pt x="722" y="756"/>
                    <a:pt x="744" y="774"/>
                  </a:cubicBezTo>
                  <a:cubicBezTo>
                    <a:pt x="766" y="792"/>
                    <a:pt x="790" y="810"/>
                    <a:pt x="816" y="824"/>
                  </a:cubicBezTo>
                  <a:cubicBezTo>
                    <a:pt x="830" y="832"/>
                    <a:pt x="844" y="838"/>
                    <a:pt x="859" y="843"/>
                  </a:cubicBezTo>
                  <a:cubicBezTo>
                    <a:pt x="874" y="848"/>
                    <a:pt x="890" y="851"/>
                    <a:pt x="907" y="852"/>
                  </a:cubicBezTo>
                  <a:cubicBezTo>
                    <a:pt x="923" y="853"/>
                    <a:pt x="939" y="852"/>
                    <a:pt x="955" y="849"/>
                  </a:cubicBezTo>
                  <a:cubicBezTo>
                    <a:pt x="970" y="846"/>
                    <a:pt x="985" y="841"/>
                    <a:pt x="999" y="835"/>
                  </a:cubicBezTo>
                  <a:cubicBezTo>
                    <a:pt x="1027" y="822"/>
                    <a:pt x="1050" y="806"/>
                    <a:pt x="1072" y="790"/>
                  </a:cubicBezTo>
                  <a:cubicBezTo>
                    <a:pt x="1093" y="773"/>
                    <a:pt x="1113" y="756"/>
                    <a:pt x="1131" y="739"/>
                  </a:cubicBezTo>
                  <a:cubicBezTo>
                    <a:pt x="1150" y="722"/>
                    <a:pt x="1168" y="705"/>
                    <a:pt x="1186" y="689"/>
                  </a:cubicBezTo>
                  <a:cubicBezTo>
                    <a:pt x="1191" y="685"/>
                    <a:pt x="1195" y="681"/>
                    <a:pt x="1199" y="677"/>
                  </a:cubicBezTo>
                  <a:cubicBezTo>
                    <a:pt x="1204" y="673"/>
                    <a:pt x="1209" y="668"/>
                    <a:pt x="1213" y="664"/>
                  </a:cubicBezTo>
                  <a:cubicBezTo>
                    <a:pt x="1222" y="656"/>
                    <a:pt x="1231" y="648"/>
                    <a:pt x="1239" y="639"/>
                  </a:cubicBezTo>
                  <a:cubicBezTo>
                    <a:pt x="1256" y="623"/>
                    <a:pt x="1273" y="608"/>
                    <a:pt x="1290" y="593"/>
                  </a:cubicBezTo>
                  <a:cubicBezTo>
                    <a:pt x="1323" y="564"/>
                    <a:pt x="1357" y="541"/>
                    <a:pt x="1392" y="527"/>
                  </a:cubicBezTo>
                  <a:cubicBezTo>
                    <a:pt x="1410" y="521"/>
                    <a:pt x="1427" y="517"/>
                    <a:pt x="1445" y="515"/>
                  </a:cubicBezTo>
                  <a:cubicBezTo>
                    <a:pt x="1449" y="515"/>
                    <a:pt x="1454" y="515"/>
                    <a:pt x="1458" y="515"/>
                  </a:cubicBezTo>
                  <a:cubicBezTo>
                    <a:pt x="1461" y="515"/>
                    <a:pt x="1465" y="515"/>
                    <a:pt x="1469" y="515"/>
                  </a:cubicBezTo>
                  <a:cubicBezTo>
                    <a:pt x="1476" y="516"/>
                    <a:pt x="1483" y="518"/>
                    <a:pt x="1490" y="521"/>
                  </a:cubicBezTo>
                  <a:cubicBezTo>
                    <a:pt x="1504" y="527"/>
                    <a:pt x="1516" y="536"/>
                    <a:pt x="1525" y="546"/>
                  </a:cubicBezTo>
                  <a:cubicBezTo>
                    <a:pt x="1534" y="557"/>
                    <a:pt x="1540" y="570"/>
                    <a:pt x="1544" y="583"/>
                  </a:cubicBezTo>
                  <a:cubicBezTo>
                    <a:pt x="1546" y="589"/>
                    <a:pt x="1546" y="596"/>
                    <a:pt x="1547" y="602"/>
                  </a:cubicBezTo>
                  <a:cubicBezTo>
                    <a:pt x="1547" y="611"/>
                    <a:pt x="1547" y="619"/>
                    <a:pt x="1547" y="627"/>
                  </a:cubicBezTo>
                  <a:cubicBezTo>
                    <a:pt x="1547" y="644"/>
                    <a:pt x="1548" y="660"/>
                    <a:pt x="1548" y="675"/>
                  </a:cubicBezTo>
                  <a:cubicBezTo>
                    <a:pt x="1548" y="691"/>
                    <a:pt x="1548" y="706"/>
                    <a:pt x="1549" y="721"/>
                  </a:cubicBezTo>
                  <a:cubicBezTo>
                    <a:pt x="1549" y="728"/>
                    <a:pt x="1549" y="736"/>
                    <a:pt x="1549" y="743"/>
                  </a:cubicBezTo>
                  <a:cubicBezTo>
                    <a:pt x="1549" y="746"/>
                    <a:pt x="1549" y="750"/>
                    <a:pt x="1549" y="754"/>
                  </a:cubicBezTo>
                  <a:cubicBezTo>
                    <a:pt x="1549" y="758"/>
                    <a:pt x="1550" y="762"/>
                    <a:pt x="1550" y="767"/>
                  </a:cubicBezTo>
                  <a:cubicBezTo>
                    <a:pt x="1553" y="784"/>
                    <a:pt x="1559" y="799"/>
                    <a:pt x="1566" y="812"/>
                  </a:cubicBezTo>
                  <a:cubicBezTo>
                    <a:pt x="1574" y="825"/>
                    <a:pt x="1583" y="835"/>
                    <a:pt x="1593" y="844"/>
                  </a:cubicBezTo>
                  <a:cubicBezTo>
                    <a:pt x="1611" y="862"/>
                    <a:pt x="1632" y="874"/>
                    <a:pt x="1651" y="882"/>
                  </a:cubicBezTo>
                  <a:cubicBezTo>
                    <a:pt x="1670" y="890"/>
                    <a:pt x="1689" y="894"/>
                    <a:pt x="1707" y="896"/>
                  </a:cubicBezTo>
                  <a:cubicBezTo>
                    <a:pt x="1716" y="897"/>
                    <a:pt x="1726" y="897"/>
                    <a:pt x="1733" y="896"/>
                  </a:cubicBezTo>
                  <a:cubicBezTo>
                    <a:pt x="1741" y="896"/>
                    <a:pt x="1748" y="896"/>
                    <a:pt x="1755" y="895"/>
                  </a:cubicBezTo>
                  <a:cubicBezTo>
                    <a:pt x="1759" y="895"/>
                    <a:pt x="1762" y="894"/>
                    <a:pt x="1766" y="894"/>
                  </a:cubicBezTo>
                  <a:cubicBezTo>
                    <a:pt x="1768" y="894"/>
                    <a:pt x="1770" y="894"/>
                    <a:pt x="1772" y="894"/>
                  </a:cubicBezTo>
                  <a:cubicBezTo>
                    <a:pt x="1774" y="893"/>
                    <a:pt x="1777" y="893"/>
                    <a:pt x="1779" y="893"/>
                  </a:cubicBezTo>
                  <a:cubicBezTo>
                    <a:pt x="1789" y="892"/>
                    <a:pt x="1797" y="890"/>
                    <a:pt x="1805" y="886"/>
                  </a:cubicBezTo>
                  <a:cubicBezTo>
                    <a:pt x="1808" y="884"/>
                    <a:pt x="1811" y="881"/>
                    <a:pt x="1814" y="878"/>
                  </a:cubicBezTo>
                  <a:cubicBezTo>
                    <a:pt x="1816" y="874"/>
                    <a:pt x="1817" y="870"/>
                    <a:pt x="1818" y="866"/>
                  </a:cubicBezTo>
                  <a:cubicBezTo>
                    <a:pt x="1820" y="858"/>
                    <a:pt x="1819" y="850"/>
                    <a:pt x="1819" y="841"/>
                  </a:cubicBezTo>
                  <a:close/>
                  <a:moveTo>
                    <a:pt x="1809" y="865"/>
                  </a:moveTo>
                  <a:cubicBezTo>
                    <a:pt x="1808" y="868"/>
                    <a:pt x="1807" y="872"/>
                    <a:pt x="1804" y="874"/>
                  </a:cubicBezTo>
                  <a:cubicBezTo>
                    <a:pt x="1803" y="876"/>
                    <a:pt x="1801" y="877"/>
                    <a:pt x="1799" y="878"/>
                  </a:cubicBezTo>
                  <a:cubicBezTo>
                    <a:pt x="1798" y="879"/>
                    <a:pt x="1796" y="879"/>
                    <a:pt x="1794" y="880"/>
                  </a:cubicBezTo>
                  <a:cubicBezTo>
                    <a:pt x="1787" y="882"/>
                    <a:pt x="1779" y="883"/>
                    <a:pt x="1771" y="884"/>
                  </a:cubicBezTo>
                  <a:cubicBezTo>
                    <a:pt x="1767" y="884"/>
                    <a:pt x="1763" y="884"/>
                    <a:pt x="1760" y="884"/>
                  </a:cubicBezTo>
                  <a:cubicBezTo>
                    <a:pt x="1756" y="885"/>
                    <a:pt x="1753" y="885"/>
                    <a:pt x="1749" y="885"/>
                  </a:cubicBezTo>
                  <a:cubicBezTo>
                    <a:pt x="1742" y="885"/>
                    <a:pt x="1735" y="886"/>
                    <a:pt x="1727" y="886"/>
                  </a:cubicBezTo>
                  <a:cubicBezTo>
                    <a:pt x="1720" y="886"/>
                    <a:pt x="1712" y="886"/>
                    <a:pt x="1704" y="885"/>
                  </a:cubicBezTo>
                  <a:cubicBezTo>
                    <a:pt x="1689" y="883"/>
                    <a:pt x="1674" y="879"/>
                    <a:pt x="1660" y="873"/>
                  </a:cubicBezTo>
                  <a:cubicBezTo>
                    <a:pt x="1632" y="862"/>
                    <a:pt x="1606" y="845"/>
                    <a:pt x="1588" y="823"/>
                  </a:cubicBezTo>
                  <a:cubicBezTo>
                    <a:pt x="1577" y="810"/>
                    <a:pt x="1568" y="795"/>
                    <a:pt x="1563" y="778"/>
                  </a:cubicBezTo>
                  <a:cubicBezTo>
                    <a:pt x="1562" y="773"/>
                    <a:pt x="1561" y="769"/>
                    <a:pt x="1561" y="765"/>
                  </a:cubicBezTo>
                  <a:cubicBezTo>
                    <a:pt x="1560" y="762"/>
                    <a:pt x="1560" y="760"/>
                    <a:pt x="1560" y="758"/>
                  </a:cubicBezTo>
                  <a:cubicBezTo>
                    <a:pt x="1560" y="756"/>
                    <a:pt x="1560" y="753"/>
                    <a:pt x="1560" y="751"/>
                  </a:cubicBezTo>
                  <a:cubicBezTo>
                    <a:pt x="1560" y="743"/>
                    <a:pt x="1559" y="736"/>
                    <a:pt x="1559" y="728"/>
                  </a:cubicBezTo>
                  <a:cubicBezTo>
                    <a:pt x="1558" y="696"/>
                    <a:pt x="1557" y="663"/>
                    <a:pt x="1556" y="628"/>
                  </a:cubicBezTo>
                  <a:cubicBezTo>
                    <a:pt x="1556" y="620"/>
                    <a:pt x="1556" y="611"/>
                    <a:pt x="1556" y="602"/>
                  </a:cubicBezTo>
                  <a:cubicBezTo>
                    <a:pt x="1555" y="594"/>
                    <a:pt x="1554" y="586"/>
                    <a:pt x="1552" y="578"/>
                  </a:cubicBezTo>
                  <a:cubicBezTo>
                    <a:pt x="1547" y="563"/>
                    <a:pt x="1539" y="548"/>
                    <a:pt x="1526" y="535"/>
                  </a:cubicBezTo>
                  <a:cubicBezTo>
                    <a:pt x="1513" y="523"/>
                    <a:pt x="1497" y="513"/>
                    <a:pt x="1478" y="509"/>
                  </a:cubicBezTo>
                  <a:cubicBezTo>
                    <a:pt x="1473" y="508"/>
                    <a:pt x="1468" y="507"/>
                    <a:pt x="1464" y="507"/>
                  </a:cubicBezTo>
                  <a:cubicBezTo>
                    <a:pt x="1461" y="507"/>
                    <a:pt x="1459" y="507"/>
                    <a:pt x="1456" y="507"/>
                  </a:cubicBezTo>
                  <a:cubicBezTo>
                    <a:pt x="1453" y="507"/>
                    <a:pt x="1450" y="507"/>
                    <a:pt x="1448" y="507"/>
                  </a:cubicBezTo>
                  <a:cubicBezTo>
                    <a:pt x="1437" y="508"/>
                    <a:pt x="1425" y="510"/>
                    <a:pt x="1414" y="513"/>
                  </a:cubicBezTo>
                  <a:cubicBezTo>
                    <a:pt x="1390" y="519"/>
                    <a:pt x="1367" y="529"/>
                    <a:pt x="1344" y="544"/>
                  </a:cubicBezTo>
                  <a:cubicBezTo>
                    <a:pt x="1320" y="558"/>
                    <a:pt x="1298" y="577"/>
                    <a:pt x="1275" y="597"/>
                  </a:cubicBezTo>
                  <a:cubicBezTo>
                    <a:pt x="1251" y="619"/>
                    <a:pt x="1227" y="643"/>
                    <a:pt x="1200" y="668"/>
                  </a:cubicBezTo>
                  <a:cubicBezTo>
                    <a:pt x="1193" y="674"/>
                    <a:pt x="1186" y="680"/>
                    <a:pt x="1180" y="686"/>
                  </a:cubicBezTo>
                  <a:cubicBezTo>
                    <a:pt x="1173" y="692"/>
                    <a:pt x="1166" y="698"/>
                    <a:pt x="1159" y="705"/>
                  </a:cubicBezTo>
                  <a:cubicBezTo>
                    <a:pt x="1146" y="717"/>
                    <a:pt x="1132" y="730"/>
                    <a:pt x="1118" y="743"/>
                  </a:cubicBezTo>
                  <a:cubicBezTo>
                    <a:pt x="1103" y="756"/>
                    <a:pt x="1088" y="769"/>
                    <a:pt x="1072" y="782"/>
                  </a:cubicBezTo>
                  <a:cubicBezTo>
                    <a:pt x="1056" y="794"/>
                    <a:pt x="1039" y="807"/>
                    <a:pt x="1020" y="818"/>
                  </a:cubicBezTo>
                  <a:cubicBezTo>
                    <a:pt x="1001" y="828"/>
                    <a:pt x="980" y="838"/>
                    <a:pt x="956" y="843"/>
                  </a:cubicBezTo>
                  <a:cubicBezTo>
                    <a:pt x="933" y="848"/>
                    <a:pt x="907" y="848"/>
                    <a:pt x="883" y="843"/>
                  </a:cubicBezTo>
                  <a:cubicBezTo>
                    <a:pt x="859" y="839"/>
                    <a:pt x="836" y="829"/>
                    <a:pt x="816" y="818"/>
                  </a:cubicBezTo>
                  <a:cubicBezTo>
                    <a:pt x="796" y="806"/>
                    <a:pt x="777" y="793"/>
                    <a:pt x="759" y="779"/>
                  </a:cubicBezTo>
                  <a:cubicBezTo>
                    <a:pt x="724" y="751"/>
                    <a:pt x="692" y="720"/>
                    <a:pt x="658" y="691"/>
                  </a:cubicBezTo>
                  <a:cubicBezTo>
                    <a:pt x="650" y="683"/>
                    <a:pt x="642" y="676"/>
                    <a:pt x="633" y="669"/>
                  </a:cubicBezTo>
                  <a:cubicBezTo>
                    <a:pt x="625" y="661"/>
                    <a:pt x="616" y="653"/>
                    <a:pt x="608" y="645"/>
                  </a:cubicBezTo>
                  <a:cubicBezTo>
                    <a:pt x="592" y="630"/>
                    <a:pt x="575" y="615"/>
                    <a:pt x="559" y="600"/>
                  </a:cubicBezTo>
                  <a:cubicBezTo>
                    <a:pt x="525" y="571"/>
                    <a:pt x="490" y="545"/>
                    <a:pt x="452" y="530"/>
                  </a:cubicBezTo>
                  <a:cubicBezTo>
                    <a:pt x="433" y="522"/>
                    <a:pt x="414" y="518"/>
                    <a:pt x="394" y="516"/>
                  </a:cubicBezTo>
                  <a:cubicBezTo>
                    <a:pt x="391" y="516"/>
                    <a:pt x="389" y="516"/>
                    <a:pt x="386" y="516"/>
                  </a:cubicBezTo>
                  <a:cubicBezTo>
                    <a:pt x="384" y="516"/>
                    <a:pt x="381" y="516"/>
                    <a:pt x="379" y="516"/>
                  </a:cubicBezTo>
                  <a:cubicBezTo>
                    <a:pt x="375" y="516"/>
                    <a:pt x="370" y="516"/>
                    <a:pt x="366" y="517"/>
                  </a:cubicBezTo>
                  <a:cubicBezTo>
                    <a:pt x="358" y="519"/>
                    <a:pt x="350" y="522"/>
                    <a:pt x="342" y="526"/>
                  </a:cubicBezTo>
                  <a:cubicBezTo>
                    <a:pt x="327" y="534"/>
                    <a:pt x="313" y="547"/>
                    <a:pt x="305" y="563"/>
                  </a:cubicBezTo>
                  <a:cubicBezTo>
                    <a:pt x="301" y="570"/>
                    <a:pt x="298" y="579"/>
                    <a:pt x="296" y="587"/>
                  </a:cubicBezTo>
                  <a:cubicBezTo>
                    <a:pt x="296" y="592"/>
                    <a:pt x="295" y="596"/>
                    <a:pt x="295" y="600"/>
                  </a:cubicBezTo>
                  <a:cubicBezTo>
                    <a:pt x="295" y="602"/>
                    <a:pt x="295" y="603"/>
                    <a:pt x="295" y="604"/>
                  </a:cubicBezTo>
                  <a:cubicBezTo>
                    <a:pt x="295" y="608"/>
                    <a:pt x="295" y="608"/>
                    <a:pt x="295" y="608"/>
                  </a:cubicBezTo>
                  <a:cubicBezTo>
                    <a:pt x="295" y="617"/>
                    <a:pt x="295" y="617"/>
                    <a:pt x="295" y="617"/>
                  </a:cubicBezTo>
                  <a:cubicBezTo>
                    <a:pt x="295" y="664"/>
                    <a:pt x="295" y="711"/>
                    <a:pt x="295" y="759"/>
                  </a:cubicBezTo>
                  <a:cubicBezTo>
                    <a:pt x="295" y="782"/>
                    <a:pt x="295" y="806"/>
                    <a:pt x="295" y="829"/>
                  </a:cubicBezTo>
                  <a:cubicBezTo>
                    <a:pt x="295" y="839"/>
                    <a:pt x="295" y="839"/>
                    <a:pt x="295" y="839"/>
                  </a:cubicBezTo>
                  <a:cubicBezTo>
                    <a:pt x="294" y="854"/>
                    <a:pt x="294" y="854"/>
                    <a:pt x="294" y="854"/>
                  </a:cubicBezTo>
                  <a:cubicBezTo>
                    <a:pt x="294" y="857"/>
                    <a:pt x="294" y="859"/>
                    <a:pt x="294" y="862"/>
                  </a:cubicBezTo>
                  <a:cubicBezTo>
                    <a:pt x="294" y="864"/>
                    <a:pt x="294" y="867"/>
                    <a:pt x="293" y="869"/>
                  </a:cubicBezTo>
                  <a:cubicBezTo>
                    <a:pt x="292" y="874"/>
                    <a:pt x="290" y="878"/>
                    <a:pt x="288" y="882"/>
                  </a:cubicBezTo>
                  <a:cubicBezTo>
                    <a:pt x="286" y="886"/>
                    <a:pt x="283" y="890"/>
                    <a:pt x="279" y="893"/>
                  </a:cubicBezTo>
                  <a:cubicBezTo>
                    <a:pt x="275" y="896"/>
                    <a:pt x="271" y="899"/>
                    <a:pt x="267" y="901"/>
                  </a:cubicBezTo>
                  <a:cubicBezTo>
                    <a:pt x="258" y="904"/>
                    <a:pt x="248" y="905"/>
                    <a:pt x="237" y="906"/>
                  </a:cubicBezTo>
                  <a:cubicBezTo>
                    <a:pt x="235" y="907"/>
                    <a:pt x="232" y="907"/>
                    <a:pt x="230" y="907"/>
                  </a:cubicBezTo>
                  <a:cubicBezTo>
                    <a:pt x="225" y="907"/>
                    <a:pt x="225" y="907"/>
                    <a:pt x="225" y="907"/>
                  </a:cubicBezTo>
                  <a:cubicBezTo>
                    <a:pt x="215" y="907"/>
                    <a:pt x="215" y="907"/>
                    <a:pt x="215" y="907"/>
                  </a:cubicBezTo>
                  <a:cubicBezTo>
                    <a:pt x="209" y="908"/>
                    <a:pt x="203" y="908"/>
                    <a:pt x="197" y="908"/>
                  </a:cubicBezTo>
                  <a:cubicBezTo>
                    <a:pt x="188" y="908"/>
                    <a:pt x="188" y="908"/>
                    <a:pt x="188" y="908"/>
                  </a:cubicBezTo>
                  <a:cubicBezTo>
                    <a:pt x="179" y="908"/>
                    <a:pt x="179" y="908"/>
                    <a:pt x="179" y="908"/>
                  </a:cubicBezTo>
                  <a:cubicBezTo>
                    <a:pt x="171" y="907"/>
                    <a:pt x="164" y="907"/>
                    <a:pt x="157" y="906"/>
                  </a:cubicBezTo>
                  <a:cubicBezTo>
                    <a:pt x="130" y="901"/>
                    <a:pt x="104" y="891"/>
                    <a:pt x="81" y="877"/>
                  </a:cubicBezTo>
                  <a:cubicBezTo>
                    <a:pt x="58" y="862"/>
                    <a:pt x="37" y="843"/>
                    <a:pt x="22" y="818"/>
                  </a:cubicBezTo>
                  <a:cubicBezTo>
                    <a:pt x="15" y="805"/>
                    <a:pt x="9" y="791"/>
                    <a:pt x="7" y="776"/>
                  </a:cubicBezTo>
                  <a:cubicBezTo>
                    <a:pt x="5" y="769"/>
                    <a:pt x="4" y="761"/>
                    <a:pt x="4" y="753"/>
                  </a:cubicBezTo>
                  <a:cubicBezTo>
                    <a:pt x="4" y="747"/>
                    <a:pt x="4" y="742"/>
                    <a:pt x="4" y="736"/>
                  </a:cubicBezTo>
                  <a:cubicBezTo>
                    <a:pt x="5" y="644"/>
                    <a:pt x="5" y="554"/>
                    <a:pt x="5" y="467"/>
                  </a:cubicBezTo>
                  <a:cubicBezTo>
                    <a:pt x="6" y="378"/>
                    <a:pt x="6" y="292"/>
                    <a:pt x="7" y="206"/>
                  </a:cubicBezTo>
                  <a:cubicBezTo>
                    <a:pt x="7" y="151"/>
                    <a:pt x="8" y="66"/>
                    <a:pt x="8" y="44"/>
                  </a:cubicBezTo>
                  <a:cubicBezTo>
                    <a:pt x="8" y="22"/>
                    <a:pt x="17" y="4"/>
                    <a:pt x="48" y="4"/>
                  </a:cubicBezTo>
                  <a:cubicBezTo>
                    <a:pt x="52" y="4"/>
                    <a:pt x="58" y="4"/>
                    <a:pt x="64" y="4"/>
                  </a:cubicBezTo>
                  <a:cubicBezTo>
                    <a:pt x="94" y="4"/>
                    <a:pt x="133" y="5"/>
                    <a:pt x="166" y="5"/>
                  </a:cubicBezTo>
                  <a:cubicBezTo>
                    <a:pt x="184" y="5"/>
                    <a:pt x="202" y="5"/>
                    <a:pt x="220" y="5"/>
                  </a:cubicBezTo>
                  <a:cubicBezTo>
                    <a:pt x="240" y="6"/>
                    <a:pt x="259" y="9"/>
                    <a:pt x="278" y="15"/>
                  </a:cubicBezTo>
                  <a:cubicBezTo>
                    <a:pt x="317" y="25"/>
                    <a:pt x="352" y="46"/>
                    <a:pt x="381" y="73"/>
                  </a:cubicBezTo>
                  <a:cubicBezTo>
                    <a:pt x="407" y="98"/>
                    <a:pt x="434" y="123"/>
                    <a:pt x="460" y="148"/>
                  </a:cubicBezTo>
                  <a:cubicBezTo>
                    <a:pt x="497" y="183"/>
                    <a:pt x="537" y="222"/>
                    <a:pt x="578" y="260"/>
                  </a:cubicBezTo>
                  <a:cubicBezTo>
                    <a:pt x="597" y="279"/>
                    <a:pt x="617" y="296"/>
                    <a:pt x="639" y="311"/>
                  </a:cubicBezTo>
                  <a:cubicBezTo>
                    <a:pt x="660" y="326"/>
                    <a:pt x="682" y="339"/>
                    <a:pt x="704" y="350"/>
                  </a:cubicBezTo>
                  <a:cubicBezTo>
                    <a:pt x="748" y="371"/>
                    <a:pt x="792" y="383"/>
                    <a:pt x="826" y="390"/>
                  </a:cubicBezTo>
                  <a:cubicBezTo>
                    <a:pt x="861" y="397"/>
                    <a:pt x="887" y="398"/>
                    <a:pt x="900" y="400"/>
                  </a:cubicBezTo>
                  <a:cubicBezTo>
                    <a:pt x="980" y="404"/>
                    <a:pt x="1049" y="390"/>
                    <a:pt x="1105" y="370"/>
                  </a:cubicBezTo>
                  <a:cubicBezTo>
                    <a:pt x="1161" y="350"/>
                    <a:pt x="1204" y="323"/>
                    <a:pt x="1237" y="297"/>
                  </a:cubicBezTo>
                  <a:cubicBezTo>
                    <a:pt x="1245" y="291"/>
                    <a:pt x="1253" y="285"/>
                    <a:pt x="1260" y="278"/>
                  </a:cubicBezTo>
                  <a:cubicBezTo>
                    <a:pt x="1267" y="272"/>
                    <a:pt x="1274" y="266"/>
                    <a:pt x="1281" y="260"/>
                  </a:cubicBezTo>
                  <a:cubicBezTo>
                    <a:pt x="1294" y="249"/>
                    <a:pt x="1305" y="239"/>
                    <a:pt x="1316" y="230"/>
                  </a:cubicBezTo>
                  <a:cubicBezTo>
                    <a:pt x="1336" y="213"/>
                    <a:pt x="1352" y="200"/>
                    <a:pt x="1364" y="191"/>
                  </a:cubicBezTo>
                  <a:cubicBezTo>
                    <a:pt x="1373" y="184"/>
                    <a:pt x="1378" y="180"/>
                    <a:pt x="1383" y="178"/>
                  </a:cubicBezTo>
                  <a:cubicBezTo>
                    <a:pt x="1387" y="175"/>
                    <a:pt x="1387" y="177"/>
                    <a:pt x="1384" y="181"/>
                  </a:cubicBezTo>
                  <a:cubicBezTo>
                    <a:pt x="1382" y="184"/>
                    <a:pt x="1377" y="191"/>
                    <a:pt x="1368" y="200"/>
                  </a:cubicBezTo>
                  <a:cubicBezTo>
                    <a:pt x="1367" y="201"/>
                    <a:pt x="1366" y="202"/>
                    <a:pt x="1365" y="204"/>
                  </a:cubicBezTo>
                  <a:cubicBezTo>
                    <a:pt x="1355" y="214"/>
                    <a:pt x="1342" y="228"/>
                    <a:pt x="1326" y="245"/>
                  </a:cubicBezTo>
                  <a:cubicBezTo>
                    <a:pt x="1319" y="252"/>
                    <a:pt x="1309" y="262"/>
                    <a:pt x="1296" y="276"/>
                  </a:cubicBezTo>
                  <a:cubicBezTo>
                    <a:pt x="1289" y="283"/>
                    <a:pt x="1281" y="291"/>
                    <a:pt x="1273" y="299"/>
                  </a:cubicBezTo>
                  <a:cubicBezTo>
                    <a:pt x="1264" y="308"/>
                    <a:pt x="1254" y="317"/>
                    <a:pt x="1243" y="326"/>
                  </a:cubicBezTo>
                  <a:cubicBezTo>
                    <a:pt x="1221" y="344"/>
                    <a:pt x="1194" y="363"/>
                    <a:pt x="1161" y="381"/>
                  </a:cubicBezTo>
                  <a:cubicBezTo>
                    <a:pt x="1128" y="398"/>
                    <a:pt x="1090" y="413"/>
                    <a:pt x="1048" y="423"/>
                  </a:cubicBezTo>
                  <a:cubicBezTo>
                    <a:pt x="1009" y="433"/>
                    <a:pt x="967" y="439"/>
                    <a:pt x="925" y="440"/>
                  </a:cubicBezTo>
                  <a:cubicBezTo>
                    <a:pt x="882" y="441"/>
                    <a:pt x="838" y="437"/>
                    <a:pt x="793" y="427"/>
                  </a:cubicBezTo>
                  <a:cubicBezTo>
                    <a:pt x="741" y="416"/>
                    <a:pt x="685" y="395"/>
                    <a:pt x="631" y="362"/>
                  </a:cubicBezTo>
                  <a:cubicBezTo>
                    <a:pt x="604" y="345"/>
                    <a:pt x="577" y="325"/>
                    <a:pt x="553" y="302"/>
                  </a:cubicBezTo>
                  <a:cubicBezTo>
                    <a:pt x="550" y="299"/>
                    <a:pt x="547" y="296"/>
                    <a:pt x="544" y="293"/>
                  </a:cubicBezTo>
                  <a:cubicBezTo>
                    <a:pt x="541" y="291"/>
                    <a:pt x="538" y="288"/>
                    <a:pt x="535" y="286"/>
                  </a:cubicBezTo>
                  <a:cubicBezTo>
                    <a:pt x="529" y="280"/>
                    <a:pt x="523" y="275"/>
                    <a:pt x="517" y="269"/>
                  </a:cubicBezTo>
                  <a:cubicBezTo>
                    <a:pt x="505" y="258"/>
                    <a:pt x="493" y="247"/>
                    <a:pt x="481" y="235"/>
                  </a:cubicBezTo>
                  <a:cubicBezTo>
                    <a:pt x="456" y="213"/>
                    <a:pt x="431" y="189"/>
                    <a:pt x="406" y="166"/>
                  </a:cubicBezTo>
                  <a:cubicBezTo>
                    <a:pt x="393" y="154"/>
                    <a:pt x="381" y="142"/>
                    <a:pt x="368" y="130"/>
                  </a:cubicBezTo>
                  <a:cubicBezTo>
                    <a:pt x="361" y="125"/>
                    <a:pt x="355" y="119"/>
                    <a:pt x="348" y="113"/>
                  </a:cubicBezTo>
                  <a:cubicBezTo>
                    <a:pt x="345" y="109"/>
                    <a:pt x="343" y="107"/>
                    <a:pt x="340" y="105"/>
                  </a:cubicBezTo>
                  <a:cubicBezTo>
                    <a:pt x="337" y="102"/>
                    <a:pt x="334" y="100"/>
                    <a:pt x="330" y="97"/>
                  </a:cubicBezTo>
                  <a:cubicBezTo>
                    <a:pt x="306" y="79"/>
                    <a:pt x="276" y="66"/>
                    <a:pt x="246" y="61"/>
                  </a:cubicBezTo>
                  <a:cubicBezTo>
                    <a:pt x="238" y="60"/>
                    <a:pt x="230" y="59"/>
                    <a:pt x="222" y="58"/>
                  </a:cubicBezTo>
                  <a:cubicBezTo>
                    <a:pt x="217" y="58"/>
                    <a:pt x="217" y="58"/>
                    <a:pt x="217" y="58"/>
                  </a:cubicBezTo>
                  <a:cubicBezTo>
                    <a:pt x="210" y="58"/>
                    <a:pt x="210" y="58"/>
                    <a:pt x="210" y="58"/>
                  </a:cubicBezTo>
                  <a:cubicBezTo>
                    <a:pt x="197" y="58"/>
                    <a:pt x="197" y="58"/>
                    <a:pt x="197" y="58"/>
                  </a:cubicBezTo>
                  <a:cubicBezTo>
                    <a:pt x="179" y="58"/>
                    <a:pt x="161" y="58"/>
                    <a:pt x="143" y="58"/>
                  </a:cubicBezTo>
                  <a:cubicBezTo>
                    <a:pt x="119" y="58"/>
                    <a:pt x="82" y="58"/>
                    <a:pt x="70" y="58"/>
                  </a:cubicBezTo>
                  <a:cubicBezTo>
                    <a:pt x="64" y="58"/>
                    <a:pt x="63" y="60"/>
                    <a:pt x="63" y="68"/>
                  </a:cubicBezTo>
                  <a:cubicBezTo>
                    <a:pt x="63" y="93"/>
                    <a:pt x="63" y="462"/>
                    <a:pt x="63" y="652"/>
                  </a:cubicBezTo>
                  <a:cubicBezTo>
                    <a:pt x="63" y="677"/>
                    <a:pt x="63" y="702"/>
                    <a:pt x="63" y="727"/>
                  </a:cubicBezTo>
                  <a:cubicBezTo>
                    <a:pt x="63" y="745"/>
                    <a:pt x="63" y="745"/>
                    <a:pt x="63" y="745"/>
                  </a:cubicBezTo>
                  <a:cubicBezTo>
                    <a:pt x="63" y="754"/>
                    <a:pt x="63" y="754"/>
                    <a:pt x="63" y="754"/>
                  </a:cubicBezTo>
                  <a:cubicBezTo>
                    <a:pt x="63" y="756"/>
                    <a:pt x="63" y="758"/>
                    <a:pt x="64" y="760"/>
                  </a:cubicBezTo>
                  <a:cubicBezTo>
                    <a:pt x="65" y="769"/>
                    <a:pt x="68" y="777"/>
                    <a:pt x="72" y="785"/>
                  </a:cubicBezTo>
                  <a:cubicBezTo>
                    <a:pt x="81" y="802"/>
                    <a:pt x="96" y="816"/>
                    <a:pt x="113" y="827"/>
                  </a:cubicBezTo>
                  <a:cubicBezTo>
                    <a:pt x="131" y="838"/>
                    <a:pt x="151" y="845"/>
                    <a:pt x="171" y="848"/>
                  </a:cubicBezTo>
                  <a:cubicBezTo>
                    <a:pt x="173" y="848"/>
                    <a:pt x="176" y="848"/>
                    <a:pt x="178" y="848"/>
                  </a:cubicBezTo>
                  <a:cubicBezTo>
                    <a:pt x="179" y="848"/>
                    <a:pt x="181" y="848"/>
                    <a:pt x="182" y="848"/>
                  </a:cubicBezTo>
                  <a:cubicBezTo>
                    <a:pt x="186" y="848"/>
                    <a:pt x="186" y="848"/>
                    <a:pt x="186" y="848"/>
                  </a:cubicBezTo>
                  <a:cubicBezTo>
                    <a:pt x="204" y="848"/>
                    <a:pt x="204" y="848"/>
                    <a:pt x="204" y="848"/>
                  </a:cubicBezTo>
                  <a:cubicBezTo>
                    <a:pt x="210" y="848"/>
                    <a:pt x="216" y="848"/>
                    <a:pt x="222" y="848"/>
                  </a:cubicBezTo>
                  <a:cubicBezTo>
                    <a:pt x="227" y="847"/>
                    <a:pt x="227" y="847"/>
                    <a:pt x="227" y="847"/>
                  </a:cubicBezTo>
                  <a:cubicBezTo>
                    <a:pt x="230" y="847"/>
                    <a:pt x="230" y="847"/>
                    <a:pt x="230" y="847"/>
                  </a:cubicBezTo>
                  <a:cubicBezTo>
                    <a:pt x="231" y="847"/>
                    <a:pt x="233" y="847"/>
                    <a:pt x="234" y="846"/>
                  </a:cubicBezTo>
                  <a:cubicBezTo>
                    <a:pt x="235" y="845"/>
                    <a:pt x="235" y="843"/>
                    <a:pt x="235" y="842"/>
                  </a:cubicBezTo>
                  <a:cubicBezTo>
                    <a:pt x="235" y="833"/>
                    <a:pt x="235" y="825"/>
                    <a:pt x="235" y="816"/>
                  </a:cubicBezTo>
                  <a:cubicBezTo>
                    <a:pt x="235" y="767"/>
                    <a:pt x="235" y="718"/>
                    <a:pt x="235" y="668"/>
                  </a:cubicBezTo>
                  <a:cubicBezTo>
                    <a:pt x="235" y="649"/>
                    <a:pt x="235" y="630"/>
                    <a:pt x="235" y="610"/>
                  </a:cubicBezTo>
                  <a:cubicBezTo>
                    <a:pt x="235" y="603"/>
                    <a:pt x="235" y="603"/>
                    <a:pt x="235" y="603"/>
                  </a:cubicBezTo>
                  <a:cubicBezTo>
                    <a:pt x="235" y="600"/>
                    <a:pt x="235" y="596"/>
                    <a:pt x="235" y="593"/>
                  </a:cubicBezTo>
                  <a:cubicBezTo>
                    <a:pt x="236" y="587"/>
                    <a:pt x="236" y="581"/>
                    <a:pt x="238" y="575"/>
                  </a:cubicBezTo>
                  <a:cubicBezTo>
                    <a:pt x="240" y="563"/>
                    <a:pt x="244" y="551"/>
                    <a:pt x="249" y="540"/>
                  </a:cubicBezTo>
                  <a:cubicBezTo>
                    <a:pt x="260" y="518"/>
                    <a:pt x="276" y="499"/>
                    <a:pt x="296" y="484"/>
                  </a:cubicBezTo>
                  <a:cubicBezTo>
                    <a:pt x="316" y="470"/>
                    <a:pt x="339" y="460"/>
                    <a:pt x="364" y="457"/>
                  </a:cubicBezTo>
                  <a:cubicBezTo>
                    <a:pt x="370" y="456"/>
                    <a:pt x="377" y="456"/>
                    <a:pt x="383" y="456"/>
                  </a:cubicBezTo>
                  <a:cubicBezTo>
                    <a:pt x="388" y="456"/>
                    <a:pt x="394" y="456"/>
                    <a:pt x="400" y="457"/>
                  </a:cubicBezTo>
                  <a:cubicBezTo>
                    <a:pt x="411" y="457"/>
                    <a:pt x="422" y="459"/>
                    <a:pt x="433" y="462"/>
                  </a:cubicBezTo>
                  <a:cubicBezTo>
                    <a:pt x="455" y="466"/>
                    <a:pt x="476" y="474"/>
                    <a:pt x="496" y="484"/>
                  </a:cubicBezTo>
                  <a:cubicBezTo>
                    <a:pt x="535" y="504"/>
                    <a:pt x="569" y="530"/>
                    <a:pt x="599" y="557"/>
                  </a:cubicBezTo>
                  <a:cubicBezTo>
                    <a:pt x="615" y="571"/>
                    <a:pt x="629" y="585"/>
                    <a:pt x="644" y="598"/>
                  </a:cubicBezTo>
                  <a:cubicBezTo>
                    <a:pt x="665" y="619"/>
                    <a:pt x="665" y="619"/>
                    <a:pt x="665" y="619"/>
                  </a:cubicBezTo>
                  <a:cubicBezTo>
                    <a:pt x="676" y="628"/>
                    <a:pt x="676" y="628"/>
                    <a:pt x="676" y="628"/>
                  </a:cubicBezTo>
                  <a:cubicBezTo>
                    <a:pt x="687" y="638"/>
                    <a:pt x="687" y="638"/>
                    <a:pt x="687" y="638"/>
                  </a:cubicBezTo>
                  <a:cubicBezTo>
                    <a:pt x="717" y="665"/>
                    <a:pt x="746" y="692"/>
                    <a:pt x="775" y="718"/>
                  </a:cubicBezTo>
                  <a:cubicBezTo>
                    <a:pt x="790" y="730"/>
                    <a:pt x="804" y="742"/>
                    <a:pt x="819" y="753"/>
                  </a:cubicBezTo>
                  <a:cubicBezTo>
                    <a:pt x="834" y="763"/>
                    <a:pt x="849" y="772"/>
                    <a:pt x="865" y="779"/>
                  </a:cubicBezTo>
                  <a:cubicBezTo>
                    <a:pt x="881" y="786"/>
                    <a:pt x="896" y="790"/>
                    <a:pt x="912" y="791"/>
                  </a:cubicBezTo>
                  <a:cubicBezTo>
                    <a:pt x="928" y="792"/>
                    <a:pt x="944" y="790"/>
                    <a:pt x="959" y="785"/>
                  </a:cubicBezTo>
                  <a:cubicBezTo>
                    <a:pt x="979" y="779"/>
                    <a:pt x="997" y="768"/>
                    <a:pt x="1015" y="756"/>
                  </a:cubicBezTo>
                  <a:cubicBezTo>
                    <a:pt x="1033" y="744"/>
                    <a:pt x="1051" y="730"/>
                    <a:pt x="1067" y="716"/>
                  </a:cubicBezTo>
                  <a:cubicBezTo>
                    <a:pt x="1084" y="702"/>
                    <a:pt x="1101" y="687"/>
                    <a:pt x="1117" y="673"/>
                  </a:cubicBezTo>
                  <a:cubicBezTo>
                    <a:pt x="1125" y="665"/>
                    <a:pt x="1133" y="658"/>
                    <a:pt x="1141" y="651"/>
                  </a:cubicBezTo>
                  <a:cubicBezTo>
                    <a:pt x="1149" y="644"/>
                    <a:pt x="1157" y="637"/>
                    <a:pt x="1165" y="630"/>
                  </a:cubicBezTo>
                  <a:cubicBezTo>
                    <a:pt x="1196" y="603"/>
                    <a:pt x="1226" y="574"/>
                    <a:pt x="1257" y="548"/>
                  </a:cubicBezTo>
                  <a:cubicBezTo>
                    <a:pt x="1289" y="522"/>
                    <a:pt x="1323" y="499"/>
                    <a:pt x="1360" y="483"/>
                  </a:cubicBezTo>
                  <a:cubicBezTo>
                    <a:pt x="1384" y="473"/>
                    <a:pt x="1410" y="466"/>
                    <a:pt x="1437" y="464"/>
                  </a:cubicBezTo>
                  <a:cubicBezTo>
                    <a:pt x="1443" y="464"/>
                    <a:pt x="1450" y="464"/>
                    <a:pt x="1456" y="464"/>
                  </a:cubicBezTo>
                  <a:cubicBezTo>
                    <a:pt x="1464" y="464"/>
                    <a:pt x="1471" y="465"/>
                    <a:pt x="1478" y="466"/>
                  </a:cubicBezTo>
                  <a:cubicBezTo>
                    <a:pt x="1491" y="468"/>
                    <a:pt x="1505" y="472"/>
                    <a:pt x="1517" y="479"/>
                  </a:cubicBezTo>
                  <a:cubicBezTo>
                    <a:pt x="1541" y="491"/>
                    <a:pt x="1561" y="511"/>
                    <a:pt x="1574" y="534"/>
                  </a:cubicBezTo>
                  <a:cubicBezTo>
                    <a:pt x="1581" y="545"/>
                    <a:pt x="1586" y="557"/>
                    <a:pt x="1589" y="569"/>
                  </a:cubicBezTo>
                  <a:cubicBezTo>
                    <a:pt x="1590" y="576"/>
                    <a:pt x="1591" y="582"/>
                    <a:pt x="1592" y="588"/>
                  </a:cubicBezTo>
                  <a:cubicBezTo>
                    <a:pt x="1592" y="591"/>
                    <a:pt x="1593" y="594"/>
                    <a:pt x="1593" y="597"/>
                  </a:cubicBezTo>
                  <a:cubicBezTo>
                    <a:pt x="1593" y="600"/>
                    <a:pt x="1593" y="604"/>
                    <a:pt x="1593" y="606"/>
                  </a:cubicBezTo>
                  <a:cubicBezTo>
                    <a:pt x="1592" y="648"/>
                    <a:pt x="1592" y="688"/>
                    <a:pt x="1591" y="726"/>
                  </a:cubicBezTo>
                  <a:cubicBezTo>
                    <a:pt x="1591" y="736"/>
                    <a:pt x="1591" y="745"/>
                    <a:pt x="1591" y="754"/>
                  </a:cubicBezTo>
                  <a:cubicBezTo>
                    <a:pt x="1591" y="762"/>
                    <a:pt x="1592" y="770"/>
                    <a:pt x="1594" y="777"/>
                  </a:cubicBezTo>
                  <a:cubicBezTo>
                    <a:pt x="1599" y="791"/>
                    <a:pt x="1608" y="805"/>
                    <a:pt x="1618" y="816"/>
                  </a:cubicBezTo>
                  <a:cubicBezTo>
                    <a:pt x="1634" y="832"/>
                    <a:pt x="1653" y="844"/>
                    <a:pt x="1671" y="852"/>
                  </a:cubicBezTo>
                  <a:cubicBezTo>
                    <a:pt x="1681" y="856"/>
                    <a:pt x="1690" y="859"/>
                    <a:pt x="1700" y="861"/>
                  </a:cubicBezTo>
                  <a:cubicBezTo>
                    <a:pt x="1705" y="862"/>
                    <a:pt x="1709" y="863"/>
                    <a:pt x="1714" y="864"/>
                  </a:cubicBezTo>
                  <a:cubicBezTo>
                    <a:pt x="1716" y="864"/>
                    <a:pt x="1719" y="864"/>
                    <a:pt x="1721" y="864"/>
                  </a:cubicBezTo>
                  <a:cubicBezTo>
                    <a:pt x="1723" y="865"/>
                    <a:pt x="1725" y="865"/>
                    <a:pt x="1728" y="865"/>
                  </a:cubicBezTo>
                  <a:cubicBezTo>
                    <a:pt x="1734" y="865"/>
                    <a:pt x="1740" y="865"/>
                    <a:pt x="1745" y="865"/>
                  </a:cubicBezTo>
                  <a:cubicBezTo>
                    <a:pt x="1752" y="865"/>
                    <a:pt x="1759" y="865"/>
                    <a:pt x="1765" y="865"/>
                  </a:cubicBezTo>
                  <a:cubicBezTo>
                    <a:pt x="1768" y="865"/>
                    <a:pt x="1770" y="865"/>
                    <a:pt x="1772" y="865"/>
                  </a:cubicBezTo>
                  <a:cubicBezTo>
                    <a:pt x="1775" y="864"/>
                    <a:pt x="1777" y="864"/>
                    <a:pt x="1779" y="864"/>
                  </a:cubicBezTo>
                  <a:cubicBezTo>
                    <a:pt x="1782" y="864"/>
                    <a:pt x="1784" y="864"/>
                    <a:pt x="1786" y="863"/>
                  </a:cubicBezTo>
                  <a:cubicBezTo>
                    <a:pt x="1788" y="863"/>
                    <a:pt x="1790" y="861"/>
                    <a:pt x="1791" y="859"/>
                  </a:cubicBezTo>
                  <a:cubicBezTo>
                    <a:pt x="1794" y="856"/>
                    <a:pt x="1794" y="851"/>
                    <a:pt x="1794" y="847"/>
                  </a:cubicBezTo>
                  <a:cubicBezTo>
                    <a:pt x="1794" y="845"/>
                    <a:pt x="1794" y="843"/>
                    <a:pt x="1794" y="841"/>
                  </a:cubicBezTo>
                  <a:cubicBezTo>
                    <a:pt x="1794" y="840"/>
                    <a:pt x="1795" y="839"/>
                    <a:pt x="1795" y="838"/>
                  </a:cubicBezTo>
                  <a:cubicBezTo>
                    <a:pt x="1795" y="837"/>
                    <a:pt x="1795" y="836"/>
                    <a:pt x="1795" y="835"/>
                  </a:cubicBezTo>
                  <a:cubicBezTo>
                    <a:pt x="1795" y="832"/>
                    <a:pt x="1795" y="830"/>
                    <a:pt x="1795" y="827"/>
                  </a:cubicBezTo>
                  <a:cubicBezTo>
                    <a:pt x="1796" y="822"/>
                    <a:pt x="1796" y="817"/>
                    <a:pt x="1796" y="811"/>
                  </a:cubicBezTo>
                  <a:cubicBezTo>
                    <a:pt x="1797" y="801"/>
                    <a:pt x="1797" y="790"/>
                    <a:pt x="1798" y="780"/>
                  </a:cubicBezTo>
                  <a:cubicBezTo>
                    <a:pt x="1799" y="761"/>
                    <a:pt x="1800" y="744"/>
                    <a:pt x="1801" y="739"/>
                  </a:cubicBezTo>
                  <a:cubicBezTo>
                    <a:pt x="1802" y="735"/>
                    <a:pt x="1803" y="738"/>
                    <a:pt x="1803" y="732"/>
                  </a:cubicBezTo>
                  <a:cubicBezTo>
                    <a:pt x="1805" y="723"/>
                    <a:pt x="1806" y="740"/>
                    <a:pt x="1808" y="778"/>
                  </a:cubicBezTo>
                  <a:cubicBezTo>
                    <a:pt x="1808" y="787"/>
                    <a:pt x="1809" y="797"/>
                    <a:pt x="1809" y="808"/>
                  </a:cubicBezTo>
                  <a:cubicBezTo>
                    <a:pt x="1809" y="813"/>
                    <a:pt x="1809" y="819"/>
                    <a:pt x="1809" y="824"/>
                  </a:cubicBezTo>
                  <a:cubicBezTo>
                    <a:pt x="1809" y="827"/>
                    <a:pt x="1810" y="830"/>
                    <a:pt x="1810" y="833"/>
                  </a:cubicBezTo>
                  <a:cubicBezTo>
                    <a:pt x="1810" y="836"/>
                    <a:pt x="1810" y="840"/>
                    <a:pt x="1810" y="843"/>
                  </a:cubicBezTo>
                  <a:cubicBezTo>
                    <a:pt x="1810" y="850"/>
                    <a:pt x="1811" y="858"/>
                    <a:pt x="1809" y="86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3" name="Freeform 19">
              <a:extLst>
                <a:ext uri="{FF2B5EF4-FFF2-40B4-BE49-F238E27FC236}">
                  <a16:creationId xmlns:a16="http://schemas.microsoft.com/office/drawing/2014/main" id="{EB29A2C0-B39D-429A-BF3B-2849C386B06C}"/>
                </a:ext>
              </a:extLst>
            </p:cNvPr>
            <p:cNvSpPr>
              <a:spLocks noEditPoints="1"/>
            </p:cNvSpPr>
            <p:nvPr>
              <p:custDataLst>
                <p:tags r:id="rId5"/>
              </p:custDataLst>
            </p:nvPr>
          </p:nvSpPr>
          <p:spPr bwMode="gray">
            <a:xfrm>
              <a:off x="2679701" y="1730376"/>
              <a:ext cx="6788150" cy="3400425"/>
            </a:xfrm>
            <a:custGeom>
              <a:avLst/>
              <a:gdLst>
                <a:gd name="T0" fmla="*/ 1791 w 1807"/>
                <a:gd name="T1" fmla="*/ 831 h 904"/>
                <a:gd name="T2" fmla="*/ 1724 w 1807"/>
                <a:gd name="T3" fmla="*/ 861 h 904"/>
                <a:gd name="T4" fmla="*/ 1589 w 1807"/>
                <a:gd name="T5" fmla="*/ 593 h 904"/>
                <a:gd name="T6" fmla="*/ 1161 w 1807"/>
                <a:gd name="T7" fmla="*/ 626 h 904"/>
                <a:gd name="T8" fmla="*/ 683 w 1807"/>
                <a:gd name="T9" fmla="*/ 634 h 904"/>
                <a:gd name="T10" fmla="*/ 292 w 1807"/>
                <a:gd name="T11" fmla="*/ 480 h 904"/>
                <a:gd name="T12" fmla="*/ 226 w 1807"/>
                <a:gd name="T13" fmla="*/ 843 h 904"/>
                <a:gd name="T14" fmla="*/ 60 w 1807"/>
                <a:gd name="T15" fmla="*/ 756 h 904"/>
                <a:gd name="T16" fmla="*/ 213 w 1807"/>
                <a:gd name="T17" fmla="*/ 54 h 904"/>
                <a:gd name="T18" fmla="*/ 531 w 1807"/>
                <a:gd name="T19" fmla="*/ 282 h 904"/>
                <a:gd name="T20" fmla="*/ 1292 w 1807"/>
                <a:gd name="T21" fmla="*/ 272 h 904"/>
                <a:gd name="T22" fmla="*/ 1233 w 1807"/>
                <a:gd name="T23" fmla="*/ 293 h 904"/>
                <a:gd name="T24" fmla="*/ 216 w 1807"/>
                <a:gd name="T25" fmla="*/ 1 h 904"/>
                <a:gd name="T26" fmla="*/ 77 w 1807"/>
                <a:gd name="T27" fmla="*/ 873 h 904"/>
                <a:gd name="T28" fmla="*/ 275 w 1807"/>
                <a:gd name="T29" fmla="*/ 889 h 904"/>
                <a:gd name="T30" fmla="*/ 291 w 1807"/>
                <a:gd name="T31" fmla="*/ 600 h 904"/>
                <a:gd name="T32" fmla="*/ 555 w 1807"/>
                <a:gd name="T33" fmla="*/ 596 h 904"/>
                <a:gd name="T34" fmla="*/ 1114 w 1807"/>
                <a:gd name="T35" fmla="*/ 739 h 904"/>
                <a:gd name="T36" fmla="*/ 1474 w 1807"/>
                <a:gd name="T37" fmla="*/ 505 h 904"/>
                <a:gd name="T38" fmla="*/ 1584 w 1807"/>
                <a:gd name="T39" fmla="*/ 819 h 904"/>
                <a:gd name="T40" fmla="*/ 1805 w 1807"/>
                <a:gd name="T41" fmla="*/ 861 h 904"/>
                <a:gd name="T42" fmla="*/ 1565 w 1807"/>
                <a:gd name="T43" fmla="*/ 743 h 904"/>
                <a:gd name="T44" fmla="*/ 1448 w 1807"/>
                <a:gd name="T45" fmla="*/ 494 h 904"/>
                <a:gd name="T46" fmla="*/ 910 w 1807"/>
                <a:gd name="T47" fmla="*/ 836 h 904"/>
                <a:gd name="T48" fmla="*/ 411 w 1807"/>
                <a:gd name="T49" fmla="*/ 510 h 904"/>
                <a:gd name="T50" fmla="*/ 286 w 1807"/>
                <a:gd name="T51" fmla="*/ 648 h 904"/>
                <a:gd name="T52" fmla="*/ 271 w 1807"/>
                <a:gd name="T53" fmla="*/ 887 h 904"/>
                <a:gd name="T54" fmla="*/ 29 w 1807"/>
                <a:gd name="T55" fmla="*/ 822 h 904"/>
                <a:gd name="T56" fmla="*/ 46 w 1807"/>
                <a:gd name="T57" fmla="*/ 4 h 904"/>
                <a:gd name="T58" fmla="*/ 380 w 1807"/>
                <a:gd name="T59" fmla="*/ 78 h 904"/>
                <a:gd name="T60" fmla="*/ 741 w 1807"/>
                <a:gd name="T61" fmla="*/ 370 h 904"/>
                <a:gd name="T62" fmla="*/ 875 w 1807"/>
                <a:gd name="T63" fmla="*/ 430 h 904"/>
                <a:gd name="T64" fmla="*/ 375 w 1807"/>
                <a:gd name="T65" fmla="*/ 127 h 904"/>
                <a:gd name="T66" fmla="*/ 52 w 1807"/>
                <a:gd name="T67" fmla="*/ 60 h 904"/>
                <a:gd name="T68" fmla="*/ 175 w 1807"/>
                <a:gd name="T69" fmla="*/ 849 h 904"/>
                <a:gd name="T70" fmla="*/ 235 w 1807"/>
                <a:gd name="T71" fmla="*/ 837 h 904"/>
                <a:gd name="T72" fmla="*/ 412 w 1807"/>
                <a:gd name="T73" fmla="*/ 457 h 904"/>
                <a:gd name="T74" fmla="*/ 914 w 1807"/>
                <a:gd name="T75" fmla="*/ 790 h 904"/>
                <a:gd name="T76" fmla="*/ 1387 w 1807"/>
                <a:gd name="T77" fmla="*/ 472 h 904"/>
                <a:gd name="T78" fmla="*/ 1606 w 1807"/>
                <a:gd name="T79" fmla="*/ 809 h 904"/>
                <a:gd name="T80" fmla="*/ 107 w 1807"/>
                <a:gd name="T81" fmla="*/ 862 h 904"/>
                <a:gd name="T82" fmla="*/ 22 w 1807"/>
                <a:gd name="T83" fmla="*/ 48 h 904"/>
                <a:gd name="T84" fmla="*/ 397 w 1807"/>
                <a:gd name="T85" fmla="*/ 113 h 904"/>
                <a:gd name="T86" fmla="*/ 192 w 1807"/>
                <a:gd name="T87" fmla="*/ 34 h 904"/>
                <a:gd name="T88" fmla="*/ 41 w 1807"/>
                <a:gd name="T89" fmla="*/ 760 h 904"/>
                <a:gd name="T90" fmla="*/ 253 w 1807"/>
                <a:gd name="T91" fmla="*/ 852 h 904"/>
                <a:gd name="T92" fmla="*/ 262 w 1807"/>
                <a:gd name="T93" fmla="*/ 863 h 904"/>
                <a:gd name="T94" fmla="*/ 296 w 1807"/>
                <a:gd name="T95" fmla="*/ 497 h 904"/>
                <a:gd name="T96" fmla="*/ 239 w 1807"/>
                <a:gd name="T97" fmla="*/ 854 h 904"/>
                <a:gd name="T98" fmla="*/ 114 w 1807"/>
                <a:gd name="T99" fmla="*/ 840 h 904"/>
                <a:gd name="T100" fmla="*/ 218 w 1807"/>
                <a:gd name="T101" fmla="*/ 39 h 904"/>
                <a:gd name="T102" fmla="*/ 552 w 1807"/>
                <a:gd name="T103" fmla="*/ 280 h 904"/>
                <a:gd name="T104" fmla="*/ 569 w 1807"/>
                <a:gd name="T105" fmla="*/ 272 h 904"/>
                <a:gd name="T106" fmla="*/ 212 w 1807"/>
                <a:gd name="T107" fmla="*/ 14 h 904"/>
                <a:gd name="T108" fmla="*/ 16 w 1807"/>
                <a:gd name="T109" fmla="*/ 730 h 904"/>
                <a:gd name="T110" fmla="*/ 187 w 1807"/>
                <a:gd name="T111" fmla="*/ 887 h 904"/>
                <a:gd name="T112" fmla="*/ 274 w 1807"/>
                <a:gd name="T113" fmla="*/ 830 h 904"/>
                <a:gd name="T114" fmla="*/ 519 w 1807"/>
                <a:gd name="T115" fmla="*/ 53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7" h="904">
                  <a:moveTo>
                    <a:pt x="1806" y="829"/>
                  </a:moveTo>
                  <a:cubicBezTo>
                    <a:pt x="1806" y="826"/>
                    <a:pt x="1805" y="823"/>
                    <a:pt x="1805" y="820"/>
                  </a:cubicBezTo>
                  <a:cubicBezTo>
                    <a:pt x="1805" y="815"/>
                    <a:pt x="1805" y="809"/>
                    <a:pt x="1805" y="804"/>
                  </a:cubicBezTo>
                  <a:cubicBezTo>
                    <a:pt x="1805" y="793"/>
                    <a:pt x="1804" y="783"/>
                    <a:pt x="1804" y="774"/>
                  </a:cubicBezTo>
                  <a:cubicBezTo>
                    <a:pt x="1802" y="736"/>
                    <a:pt x="1801" y="719"/>
                    <a:pt x="1799" y="728"/>
                  </a:cubicBezTo>
                  <a:cubicBezTo>
                    <a:pt x="1799" y="734"/>
                    <a:pt x="1798" y="731"/>
                    <a:pt x="1797" y="735"/>
                  </a:cubicBezTo>
                  <a:cubicBezTo>
                    <a:pt x="1796" y="740"/>
                    <a:pt x="1795" y="757"/>
                    <a:pt x="1794" y="776"/>
                  </a:cubicBezTo>
                  <a:cubicBezTo>
                    <a:pt x="1793" y="786"/>
                    <a:pt x="1793" y="797"/>
                    <a:pt x="1792" y="807"/>
                  </a:cubicBezTo>
                  <a:cubicBezTo>
                    <a:pt x="1792" y="813"/>
                    <a:pt x="1792" y="818"/>
                    <a:pt x="1791" y="823"/>
                  </a:cubicBezTo>
                  <a:cubicBezTo>
                    <a:pt x="1791" y="826"/>
                    <a:pt x="1791" y="828"/>
                    <a:pt x="1791" y="831"/>
                  </a:cubicBezTo>
                  <a:cubicBezTo>
                    <a:pt x="1791" y="832"/>
                    <a:pt x="1791" y="833"/>
                    <a:pt x="1791" y="834"/>
                  </a:cubicBezTo>
                  <a:cubicBezTo>
                    <a:pt x="1791" y="835"/>
                    <a:pt x="1790" y="836"/>
                    <a:pt x="1790" y="837"/>
                  </a:cubicBezTo>
                  <a:cubicBezTo>
                    <a:pt x="1790" y="839"/>
                    <a:pt x="1790" y="841"/>
                    <a:pt x="1790" y="843"/>
                  </a:cubicBezTo>
                  <a:cubicBezTo>
                    <a:pt x="1790" y="847"/>
                    <a:pt x="1790" y="852"/>
                    <a:pt x="1787" y="855"/>
                  </a:cubicBezTo>
                  <a:cubicBezTo>
                    <a:pt x="1786" y="857"/>
                    <a:pt x="1784" y="859"/>
                    <a:pt x="1782" y="859"/>
                  </a:cubicBezTo>
                  <a:cubicBezTo>
                    <a:pt x="1780" y="860"/>
                    <a:pt x="1778" y="860"/>
                    <a:pt x="1775" y="860"/>
                  </a:cubicBezTo>
                  <a:cubicBezTo>
                    <a:pt x="1773" y="860"/>
                    <a:pt x="1771" y="860"/>
                    <a:pt x="1768" y="861"/>
                  </a:cubicBezTo>
                  <a:cubicBezTo>
                    <a:pt x="1766" y="861"/>
                    <a:pt x="1764" y="861"/>
                    <a:pt x="1761" y="861"/>
                  </a:cubicBezTo>
                  <a:cubicBezTo>
                    <a:pt x="1755" y="861"/>
                    <a:pt x="1748" y="861"/>
                    <a:pt x="1741" y="861"/>
                  </a:cubicBezTo>
                  <a:cubicBezTo>
                    <a:pt x="1736" y="861"/>
                    <a:pt x="1730" y="861"/>
                    <a:pt x="1724" y="861"/>
                  </a:cubicBezTo>
                  <a:cubicBezTo>
                    <a:pt x="1721" y="861"/>
                    <a:pt x="1719" y="861"/>
                    <a:pt x="1717" y="860"/>
                  </a:cubicBezTo>
                  <a:cubicBezTo>
                    <a:pt x="1715" y="860"/>
                    <a:pt x="1712" y="860"/>
                    <a:pt x="1710" y="860"/>
                  </a:cubicBezTo>
                  <a:cubicBezTo>
                    <a:pt x="1705" y="859"/>
                    <a:pt x="1701" y="858"/>
                    <a:pt x="1696" y="857"/>
                  </a:cubicBezTo>
                  <a:cubicBezTo>
                    <a:pt x="1686" y="855"/>
                    <a:pt x="1677" y="852"/>
                    <a:pt x="1667" y="848"/>
                  </a:cubicBezTo>
                  <a:cubicBezTo>
                    <a:pt x="1649" y="840"/>
                    <a:pt x="1630" y="828"/>
                    <a:pt x="1614" y="812"/>
                  </a:cubicBezTo>
                  <a:cubicBezTo>
                    <a:pt x="1604" y="801"/>
                    <a:pt x="1595" y="787"/>
                    <a:pt x="1590" y="773"/>
                  </a:cubicBezTo>
                  <a:cubicBezTo>
                    <a:pt x="1588" y="766"/>
                    <a:pt x="1587" y="758"/>
                    <a:pt x="1587" y="750"/>
                  </a:cubicBezTo>
                  <a:cubicBezTo>
                    <a:pt x="1587" y="741"/>
                    <a:pt x="1587" y="732"/>
                    <a:pt x="1587" y="722"/>
                  </a:cubicBezTo>
                  <a:cubicBezTo>
                    <a:pt x="1588" y="684"/>
                    <a:pt x="1588" y="644"/>
                    <a:pt x="1589" y="602"/>
                  </a:cubicBezTo>
                  <a:cubicBezTo>
                    <a:pt x="1589" y="600"/>
                    <a:pt x="1589" y="596"/>
                    <a:pt x="1589" y="593"/>
                  </a:cubicBezTo>
                  <a:cubicBezTo>
                    <a:pt x="1589" y="590"/>
                    <a:pt x="1588" y="587"/>
                    <a:pt x="1588" y="584"/>
                  </a:cubicBezTo>
                  <a:cubicBezTo>
                    <a:pt x="1587" y="578"/>
                    <a:pt x="1586" y="572"/>
                    <a:pt x="1585" y="565"/>
                  </a:cubicBezTo>
                  <a:cubicBezTo>
                    <a:pt x="1582" y="553"/>
                    <a:pt x="1577" y="541"/>
                    <a:pt x="1570" y="530"/>
                  </a:cubicBezTo>
                  <a:cubicBezTo>
                    <a:pt x="1557" y="507"/>
                    <a:pt x="1537" y="487"/>
                    <a:pt x="1513" y="475"/>
                  </a:cubicBezTo>
                  <a:cubicBezTo>
                    <a:pt x="1501" y="468"/>
                    <a:pt x="1487" y="464"/>
                    <a:pt x="1474" y="462"/>
                  </a:cubicBezTo>
                  <a:cubicBezTo>
                    <a:pt x="1467" y="461"/>
                    <a:pt x="1460" y="460"/>
                    <a:pt x="1452" y="460"/>
                  </a:cubicBezTo>
                  <a:cubicBezTo>
                    <a:pt x="1446" y="460"/>
                    <a:pt x="1439" y="460"/>
                    <a:pt x="1433" y="460"/>
                  </a:cubicBezTo>
                  <a:cubicBezTo>
                    <a:pt x="1406" y="462"/>
                    <a:pt x="1380" y="469"/>
                    <a:pt x="1356" y="479"/>
                  </a:cubicBezTo>
                  <a:cubicBezTo>
                    <a:pt x="1319" y="495"/>
                    <a:pt x="1285" y="518"/>
                    <a:pt x="1253" y="544"/>
                  </a:cubicBezTo>
                  <a:cubicBezTo>
                    <a:pt x="1222" y="570"/>
                    <a:pt x="1192" y="599"/>
                    <a:pt x="1161" y="626"/>
                  </a:cubicBezTo>
                  <a:cubicBezTo>
                    <a:pt x="1153" y="633"/>
                    <a:pt x="1145" y="640"/>
                    <a:pt x="1137" y="647"/>
                  </a:cubicBezTo>
                  <a:cubicBezTo>
                    <a:pt x="1129" y="654"/>
                    <a:pt x="1121" y="661"/>
                    <a:pt x="1113" y="669"/>
                  </a:cubicBezTo>
                  <a:cubicBezTo>
                    <a:pt x="1097" y="683"/>
                    <a:pt x="1080" y="698"/>
                    <a:pt x="1063" y="712"/>
                  </a:cubicBezTo>
                  <a:cubicBezTo>
                    <a:pt x="1047" y="726"/>
                    <a:pt x="1029" y="740"/>
                    <a:pt x="1011" y="752"/>
                  </a:cubicBezTo>
                  <a:cubicBezTo>
                    <a:pt x="993" y="764"/>
                    <a:pt x="975" y="775"/>
                    <a:pt x="955" y="781"/>
                  </a:cubicBezTo>
                  <a:cubicBezTo>
                    <a:pt x="940" y="786"/>
                    <a:pt x="924" y="788"/>
                    <a:pt x="908" y="787"/>
                  </a:cubicBezTo>
                  <a:cubicBezTo>
                    <a:pt x="892" y="786"/>
                    <a:pt x="877" y="782"/>
                    <a:pt x="861" y="775"/>
                  </a:cubicBezTo>
                  <a:cubicBezTo>
                    <a:pt x="845" y="768"/>
                    <a:pt x="830" y="759"/>
                    <a:pt x="815" y="749"/>
                  </a:cubicBezTo>
                  <a:cubicBezTo>
                    <a:pt x="800" y="738"/>
                    <a:pt x="786" y="726"/>
                    <a:pt x="771" y="714"/>
                  </a:cubicBezTo>
                  <a:cubicBezTo>
                    <a:pt x="742" y="688"/>
                    <a:pt x="713" y="661"/>
                    <a:pt x="683" y="634"/>
                  </a:cubicBezTo>
                  <a:cubicBezTo>
                    <a:pt x="672" y="624"/>
                    <a:pt x="672" y="624"/>
                    <a:pt x="672" y="624"/>
                  </a:cubicBezTo>
                  <a:cubicBezTo>
                    <a:pt x="661" y="615"/>
                    <a:pt x="661" y="615"/>
                    <a:pt x="661" y="615"/>
                  </a:cubicBezTo>
                  <a:cubicBezTo>
                    <a:pt x="640" y="594"/>
                    <a:pt x="640" y="594"/>
                    <a:pt x="640" y="594"/>
                  </a:cubicBezTo>
                  <a:cubicBezTo>
                    <a:pt x="625" y="581"/>
                    <a:pt x="611" y="567"/>
                    <a:pt x="595" y="553"/>
                  </a:cubicBezTo>
                  <a:cubicBezTo>
                    <a:pt x="565" y="526"/>
                    <a:pt x="531" y="500"/>
                    <a:pt x="492" y="480"/>
                  </a:cubicBezTo>
                  <a:cubicBezTo>
                    <a:pt x="472" y="470"/>
                    <a:pt x="451" y="462"/>
                    <a:pt x="429" y="458"/>
                  </a:cubicBezTo>
                  <a:cubicBezTo>
                    <a:pt x="418" y="455"/>
                    <a:pt x="407" y="453"/>
                    <a:pt x="396" y="453"/>
                  </a:cubicBezTo>
                  <a:cubicBezTo>
                    <a:pt x="390" y="452"/>
                    <a:pt x="384" y="452"/>
                    <a:pt x="379" y="452"/>
                  </a:cubicBezTo>
                  <a:cubicBezTo>
                    <a:pt x="373" y="452"/>
                    <a:pt x="366" y="452"/>
                    <a:pt x="360" y="453"/>
                  </a:cubicBezTo>
                  <a:cubicBezTo>
                    <a:pt x="335" y="456"/>
                    <a:pt x="312" y="466"/>
                    <a:pt x="292" y="480"/>
                  </a:cubicBezTo>
                  <a:cubicBezTo>
                    <a:pt x="272" y="495"/>
                    <a:pt x="256" y="514"/>
                    <a:pt x="245" y="536"/>
                  </a:cubicBezTo>
                  <a:cubicBezTo>
                    <a:pt x="240" y="547"/>
                    <a:pt x="236" y="559"/>
                    <a:pt x="234" y="571"/>
                  </a:cubicBezTo>
                  <a:cubicBezTo>
                    <a:pt x="232" y="577"/>
                    <a:pt x="232" y="583"/>
                    <a:pt x="231" y="589"/>
                  </a:cubicBezTo>
                  <a:cubicBezTo>
                    <a:pt x="231" y="592"/>
                    <a:pt x="231" y="596"/>
                    <a:pt x="231" y="599"/>
                  </a:cubicBezTo>
                  <a:cubicBezTo>
                    <a:pt x="231" y="606"/>
                    <a:pt x="231" y="606"/>
                    <a:pt x="231" y="606"/>
                  </a:cubicBezTo>
                  <a:cubicBezTo>
                    <a:pt x="231" y="626"/>
                    <a:pt x="231" y="645"/>
                    <a:pt x="231" y="664"/>
                  </a:cubicBezTo>
                  <a:cubicBezTo>
                    <a:pt x="231" y="714"/>
                    <a:pt x="231" y="763"/>
                    <a:pt x="231" y="812"/>
                  </a:cubicBezTo>
                  <a:cubicBezTo>
                    <a:pt x="231" y="821"/>
                    <a:pt x="231" y="829"/>
                    <a:pt x="231" y="838"/>
                  </a:cubicBezTo>
                  <a:cubicBezTo>
                    <a:pt x="231" y="839"/>
                    <a:pt x="231" y="841"/>
                    <a:pt x="230" y="842"/>
                  </a:cubicBezTo>
                  <a:cubicBezTo>
                    <a:pt x="229" y="843"/>
                    <a:pt x="227" y="843"/>
                    <a:pt x="226" y="843"/>
                  </a:cubicBezTo>
                  <a:cubicBezTo>
                    <a:pt x="223" y="843"/>
                    <a:pt x="223" y="843"/>
                    <a:pt x="223" y="843"/>
                  </a:cubicBezTo>
                  <a:cubicBezTo>
                    <a:pt x="218" y="844"/>
                    <a:pt x="218" y="844"/>
                    <a:pt x="218" y="844"/>
                  </a:cubicBezTo>
                  <a:cubicBezTo>
                    <a:pt x="212" y="844"/>
                    <a:pt x="206" y="844"/>
                    <a:pt x="200" y="844"/>
                  </a:cubicBezTo>
                  <a:cubicBezTo>
                    <a:pt x="182" y="844"/>
                    <a:pt x="182" y="844"/>
                    <a:pt x="182" y="844"/>
                  </a:cubicBezTo>
                  <a:cubicBezTo>
                    <a:pt x="178" y="844"/>
                    <a:pt x="178" y="844"/>
                    <a:pt x="178" y="844"/>
                  </a:cubicBezTo>
                  <a:cubicBezTo>
                    <a:pt x="177" y="844"/>
                    <a:pt x="175" y="844"/>
                    <a:pt x="174" y="844"/>
                  </a:cubicBezTo>
                  <a:cubicBezTo>
                    <a:pt x="172" y="844"/>
                    <a:pt x="169" y="844"/>
                    <a:pt x="167" y="844"/>
                  </a:cubicBezTo>
                  <a:cubicBezTo>
                    <a:pt x="147" y="841"/>
                    <a:pt x="127" y="834"/>
                    <a:pt x="109" y="823"/>
                  </a:cubicBezTo>
                  <a:cubicBezTo>
                    <a:pt x="92" y="812"/>
                    <a:pt x="77" y="798"/>
                    <a:pt x="68" y="781"/>
                  </a:cubicBezTo>
                  <a:cubicBezTo>
                    <a:pt x="64" y="773"/>
                    <a:pt x="61" y="765"/>
                    <a:pt x="60" y="756"/>
                  </a:cubicBezTo>
                  <a:cubicBezTo>
                    <a:pt x="59" y="754"/>
                    <a:pt x="59" y="752"/>
                    <a:pt x="59" y="750"/>
                  </a:cubicBezTo>
                  <a:cubicBezTo>
                    <a:pt x="59" y="741"/>
                    <a:pt x="59" y="741"/>
                    <a:pt x="59" y="741"/>
                  </a:cubicBezTo>
                  <a:cubicBezTo>
                    <a:pt x="59" y="723"/>
                    <a:pt x="59" y="723"/>
                    <a:pt x="59" y="723"/>
                  </a:cubicBezTo>
                  <a:cubicBezTo>
                    <a:pt x="59" y="698"/>
                    <a:pt x="59" y="673"/>
                    <a:pt x="59" y="648"/>
                  </a:cubicBezTo>
                  <a:cubicBezTo>
                    <a:pt x="59" y="452"/>
                    <a:pt x="59" y="71"/>
                    <a:pt x="59" y="63"/>
                  </a:cubicBezTo>
                  <a:cubicBezTo>
                    <a:pt x="59" y="55"/>
                    <a:pt x="62" y="55"/>
                    <a:pt x="67" y="55"/>
                  </a:cubicBezTo>
                  <a:cubicBezTo>
                    <a:pt x="71" y="55"/>
                    <a:pt x="115" y="54"/>
                    <a:pt x="139" y="54"/>
                  </a:cubicBezTo>
                  <a:cubicBezTo>
                    <a:pt x="157" y="54"/>
                    <a:pt x="175" y="54"/>
                    <a:pt x="193" y="54"/>
                  </a:cubicBezTo>
                  <a:cubicBezTo>
                    <a:pt x="206" y="54"/>
                    <a:pt x="206" y="54"/>
                    <a:pt x="206" y="54"/>
                  </a:cubicBezTo>
                  <a:cubicBezTo>
                    <a:pt x="213" y="54"/>
                    <a:pt x="213" y="54"/>
                    <a:pt x="213" y="54"/>
                  </a:cubicBezTo>
                  <a:cubicBezTo>
                    <a:pt x="218" y="54"/>
                    <a:pt x="218" y="54"/>
                    <a:pt x="218" y="54"/>
                  </a:cubicBezTo>
                  <a:cubicBezTo>
                    <a:pt x="226" y="55"/>
                    <a:pt x="234" y="56"/>
                    <a:pt x="242" y="57"/>
                  </a:cubicBezTo>
                  <a:cubicBezTo>
                    <a:pt x="272" y="62"/>
                    <a:pt x="302" y="75"/>
                    <a:pt x="326" y="93"/>
                  </a:cubicBezTo>
                  <a:cubicBezTo>
                    <a:pt x="330" y="96"/>
                    <a:pt x="333" y="98"/>
                    <a:pt x="336" y="101"/>
                  </a:cubicBezTo>
                  <a:cubicBezTo>
                    <a:pt x="339" y="103"/>
                    <a:pt x="341" y="105"/>
                    <a:pt x="344" y="109"/>
                  </a:cubicBezTo>
                  <a:cubicBezTo>
                    <a:pt x="351" y="115"/>
                    <a:pt x="357" y="121"/>
                    <a:pt x="364" y="126"/>
                  </a:cubicBezTo>
                  <a:cubicBezTo>
                    <a:pt x="377" y="138"/>
                    <a:pt x="389" y="150"/>
                    <a:pt x="402" y="162"/>
                  </a:cubicBezTo>
                  <a:cubicBezTo>
                    <a:pt x="427" y="185"/>
                    <a:pt x="452" y="209"/>
                    <a:pt x="477" y="231"/>
                  </a:cubicBezTo>
                  <a:cubicBezTo>
                    <a:pt x="489" y="243"/>
                    <a:pt x="501" y="254"/>
                    <a:pt x="513" y="265"/>
                  </a:cubicBezTo>
                  <a:cubicBezTo>
                    <a:pt x="519" y="271"/>
                    <a:pt x="525" y="276"/>
                    <a:pt x="531" y="282"/>
                  </a:cubicBezTo>
                  <a:cubicBezTo>
                    <a:pt x="534" y="284"/>
                    <a:pt x="537" y="287"/>
                    <a:pt x="540" y="289"/>
                  </a:cubicBezTo>
                  <a:cubicBezTo>
                    <a:pt x="543" y="292"/>
                    <a:pt x="546" y="295"/>
                    <a:pt x="549" y="298"/>
                  </a:cubicBezTo>
                  <a:cubicBezTo>
                    <a:pt x="573" y="321"/>
                    <a:pt x="600" y="341"/>
                    <a:pt x="627" y="358"/>
                  </a:cubicBezTo>
                  <a:cubicBezTo>
                    <a:pt x="681" y="391"/>
                    <a:pt x="737" y="412"/>
                    <a:pt x="789" y="423"/>
                  </a:cubicBezTo>
                  <a:cubicBezTo>
                    <a:pt x="834" y="433"/>
                    <a:pt x="878" y="437"/>
                    <a:pt x="921" y="436"/>
                  </a:cubicBezTo>
                  <a:cubicBezTo>
                    <a:pt x="963" y="435"/>
                    <a:pt x="1005" y="429"/>
                    <a:pt x="1044" y="419"/>
                  </a:cubicBezTo>
                  <a:cubicBezTo>
                    <a:pt x="1086" y="409"/>
                    <a:pt x="1124" y="394"/>
                    <a:pt x="1157" y="377"/>
                  </a:cubicBezTo>
                  <a:cubicBezTo>
                    <a:pt x="1190" y="359"/>
                    <a:pt x="1217" y="340"/>
                    <a:pt x="1239" y="322"/>
                  </a:cubicBezTo>
                  <a:cubicBezTo>
                    <a:pt x="1250" y="313"/>
                    <a:pt x="1260" y="304"/>
                    <a:pt x="1269" y="295"/>
                  </a:cubicBezTo>
                  <a:cubicBezTo>
                    <a:pt x="1277" y="287"/>
                    <a:pt x="1285" y="279"/>
                    <a:pt x="1292" y="272"/>
                  </a:cubicBezTo>
                  <a:cubicBezTo>
                    <a:pt x="1305" y="258"/>
                    <a:pt x="1315" y="248"/>
                    <a:pt x="1322" y="241"/>
                  </a:cubicBezTo>
                  <a:cubicBezTo>
                    <a:pt x="1338" y="224"/>
                    <a:pt x="1351" y="210"/>
                    <a:pt x="1361" y="200"/>
                  </a:cubicBezTo>
                  <a:cubicBezTo>
                    <a:pt x="1362" y="198"/>
                    <a:pt x="1363" y="197"/>
                    <a:pt x="1364" y="196"/>
                  </a:cubicBezTo>
                  <a:cubicBezTo>
                    <a:pt x="1373" y="187"/>
                    <a:pt x="1378" y="180"/>
                    <a:pt x="1380" y="177"/>
                  </a:cubicBezTo>
                  <a:cubicBezTo>
                    <a:pt x="1383" y="173"/>
                    <a:pt x="1383" y="171"/>
                    <a:pt x="1379" y="174"/>
                  </a:cubicBezTo>
                  <a:cubicBezTo>
                    <a:pt x="1374" y="176"/>
                    <a:pt x="1369" y="180"/>
                    <a:pt x="1360" y="187"/>
                  </a:cubicBezTo>
                  <a:cubicBezTo>
                    <a:pt x="1348" y="196"/>
                    <a:pt x="1332" y="209"/>
                    <a:pt x="1312" y="226"/>
                  </a:cubicBezTo>
                  <a:cubicBezTo>
                    <a:pt x="1301" y="235"/>
                    <a:pt x="1290" y="245"/>
                    <a:pt x="1277" y="256"/>
                  </a:cubicBezTo>
                  <a:cubicBezTo>
                    <a:pt x="1270" y="262"/>
                    <a:pt x="1263" y="268"/>
                    <a:pt x="1256" y="274"/>
                  </a:cubicBezTo>
                  <a:cubicBezTo>
                    <a:pt x="1249" y="281"/>
                    <a:pt x="1241" y="287"/>
                    <a:pt x="1233" y="293"/>
                  </a:cubicBezTo>
                  <a:cubicBezTo>
                    <a:pt x="1200" y="319"/>
                    <a:pt x="1157" y="346"/>
                    <a:pt x="1101" y="366"/>
                  </a:cubicBezTo>
                  <a:cubicBezTo>
                    <a:pt x="1045" y="386"/>
                    <a:pt x="976" y="400"/>
                    <a:pt x="896" y="396"/>
                  </a:cubicBezTo>
                  <a:cubicBezTo>
                    <a:pt x="883" y="394"/>
                    <a:pt x="857" y="393"/>
                    <a:pt x="822" y="386"/>
                  </a:cubicBezTo>
                  <a:cubicBezTo>
                    <a:pt x="788" y="379"/>
                    <a:pt x="744" y="367"/>
                    <a:pt x="700" y="346"/>
                  </a:cubicBezTo>
                  <a:cubicBezTo>
                    <a:pt x="678" y="335"/>
                    <a:pt x="656" y="322"/>
                    <a:pt x="635" y="307"/>
                  </a:cubicBezTo>
                  <a:cubicBezTo>
                    <a:pt x="613" y="292"/>
                    <a:pt x="593" y="275"/>
                    <a:pt x="574" y="256"/>
                  </a:cubicBezTo>
                  <a:cubicBezTo>
                    <a:pt x="533" y="218"/>
                    <a:pt x="493" y="179"/>
                    <a:pt x="456" y="144"/>
                  </a:cubicBezTo>
                  <a:cubicBezTo>
                    <a:pt x="430" y="119"/>
                    <a:pt x="403" y="94"/>
                    <a:pt x="377" y="69"/>
                  </a:cubicBezTo>
                  <a:cubicBezTo>
                    <a:pt x="348" y="42"/>
                    <a:pt x="313" y="21"/>
                    <a:pt x="274" y="11"/>
                  </a:cubicBezTo>
                  <a:cubicBezTo>
                    <a:pt x="255" y="5"/>
                    <a:pt x="236" y="2"/>
                    <a:pt x="216" y="1"/>
                  </a:cubicBezTo>
                  <a:cubicBezTo>
                    <a:pt x="198" y="1"/>
                    <a:pt x="180" y="1"/>
                    <a:pt x="162" y="1"/>
                  </a:cubicBezTo>
                  <a:cubicBezTo>
                    <a:pt x="123" y="1"/>
                    <a:pt x="75" y="0"/>
                    <a:pt x="44" y="0"/>
                  </a:cubicBezTo>
                  <a:cubicBezTo>
                    <a:pt x="13" y="0"/>
                    <a:pt x="4" y="18"/>
                    <a:pt x="4" y="40"/>
                  </a:cubicBezTo>
                  <a:cubicBezTo>
                    <a:pt x="4" y="62"/>
                    <a:pt x="3" y="147"/>
                    <a:pt x="3" y="202"/>
                  </a:cubicBezTo>
                  <a:cubicBezTo>
                    <a:pt x="2" y="288"/>
                    <a:pt x="2" y="374"/>
                    <a:pt x="1" y="463"/>
                  </a:cubicBezTo>
                  <a:cubicBezTo>
                    <a:pt x="1" y="550"/>
                    <a:pt x="1" y="640"/>
                    <a:pt x="0" y="732"/>
                  </a:cubicBezTo>
                  <a:cubicBezTo>
                    <a:pt x="0" y="738"/>
                    <a:pt x="0" y="743"/>
                    <a:pt x="0" y="749"/>
                  </a:cubicBezTo>
                  <a:cubicBezTo>
                    <a:pt x="0" y="757"/>
                    <a:pt x="1" y="765"/>
                    <a:pt x="3" y="772"/>
                  </a:cubicBezTo>
                  <a:cubicBezTo>
                    <a:pt x="5" y="787"/>
                    <a:pt x="11" y="801"/>
                    <a:pt x="18" y="814"/>
                  </a:cubicBezTo>
                  <a:cubicBezTo>
                    <a:pt x="33" y="839"/>
                    <a:pt x="54" y="858"/>
                    <a:pt x="77" y="873"/>
                  </a:cubicBezTo>
                  <a:cubicBezTo>
                    <a:pt x="100" y="887"/>
                    <a:pt x="126" y="897"/>
                    <a:pt x="153" y="902"/>
                  </a:cubicBezTo>
                  <a:cubicBezTo>
                    <a:pt x="160" y="903"/>
                    <a:pt x="167" y="903"/>
                    <a:pt x="175" y="904"/>
                  </a:cubicBezTo>
                  <a:cubicBezTo>
                    <a:pt x="184" y="904"/>
                    <a:pt x="184" y="904"/>
                    <a:pt x="184" y="904"/>
                  </a:cubicBezTo>
                  <a:cubicBezTo>
                    <a:pt x="193" y="904"/>
                    <a:pt x="193" y="904"/>
                    <a:pt x="193" y="904"/>
                  </a:cubicBezTo>
                  <a:cubicBezTo>
                    <a:pt x="199" y="904"/>
                    <a:pt x="205" y="904"/>
                    <a:pt x="211" y="903"/>
                  </a:cubicBezTo>
                  <a:cubicBezTo>
                    <a:pt x="221" y="903"/>
                    <a:pt x="221" y="903"/>
                    <a:pt x="221" y="903"/>
                  </a:cubicBezTo>
                  <a:cubicBezTo>
                    <a:pt x="226" y="903"/>
                    <a:pt x="226" y="903"/>
                    <a:pt x="226" y="903"/>
                  </a:cubicBezTo>
                  <a:cubicBezTo>
                    <a:pt x="228" y="903"/>
                    <a:pt x="231" y="903"/>
                    <a:pt x="233" y="902"/>
                  </a:cubicBezTo>
                  <a:cubicBezTo>
                    <a:pt x="244" y="901"/>
                    <a:pt x="254" y="900"/>
                    <a:pt x="263" y="897"/>
                  </a:cubicBezTo>
                  <a:cubicBezTo>
                    <a:pt x="267" y="895"/>
                    <a:pt x="271" y="892"/>
                    <a:pt x="275" y="889"/>
                  </a:cubicBezTo>
                  <a:cubicBezTo>
                    <a:pt x="279" y="886"/>
                    <a:pt x="282" y="882"/>
                    <a:pt x="284" y="878"/>
                  </a:cubicBezTo>
                  <a:cubicBezTo>
                    <a:pt x="286" y="874"/>
                    <a:pt x="288" y="870"/>
                    <a:pt x="289" y="865"/>
                  </a:cubicBezTo>
                  <a:cubicBezTo>
                    <a:pt x="290" y="863"/>
                    <a:pt x="290" y="860"/>
                    <a:pt x="290" y="858"/>
                  </a:cubicBezTo>
                  <a:cubicBezTo>
                    <a:pt x="290" y="855"/>
                    <a:pt x="290" y="853"/>
                    <a:pt x="290" y="850"/>
                  </a:cubicBezTo>
                  <a:cubicBezTo>
                    <a:pt x="291" y="835"/>
                    <a:pt x="291" y="835"/>
                    <a:pt x="291" y="835"/>
                  </a:cubicBezTo>
                  <a:cubicBezTo>
                    <a:pt x="291" y="825"/>
                    <a:pt x="291" y="825"/>
                    <a:pt x="291" y="825"/>
                  </a:cubicBezTo>
                  <a:cubicBezTo>
                    <a:pt x="291" y="802"/>
                    <a:pt x="291" y="778"/>
                    <a:pt x="291" y="755"/>
                  </a:cubicBezTo>
                  <a:cubicBezTo>
                    <a:pt x="291" y="707"/>
                    <a:pt x="291" y="660"/>
                    <a:pt x="291" y="613"/>
                  </a:cubicBezTo>
                  <a:cubicBezTo>
                    <a:pt x="291" y="604"/>
                    <a:pt x="291" y="604"/>
                    <a:pt x="291" y="604"/>
                  </a:cubicBezTo>
                  <a:cubicBezTo>
                    <a:pt x="291" y="600"/>
                    <a:pt x="291" y="600"/>
                    <a:pt x="291" y="600"/>
                  </a:cubicBezTo>
                  <a:cubicBezTo>
                    <a:pt x="291" y="599"/>
                    <a:pt x="291" y="598"/>
                    <a:pt x="291" y="596"/>
                  </a:cubicBezTo>
                  <a:cubicBezTo>
                    <a:pt x="291" y="592"/>
                    <a:pt x="292" y="588"/>
                    <a:pt x="292" y="583"/>
                  </a:cubicBezTo>
                  <a:cubicBezTo>
                    <a:pt x="294" y="575"/>
                    <a:pt x="297" y="566"/>
                    <a:pt x="301" y="559"/>
                  </a:cubicBezTo>
                  <a:cubicBezTo>
                    <a:pt x="309" y="543"/>
                    <a:pt x="323" y="530"/>
                    <a:pt x="338" y="522"/>
                  </a:cubicBezTo>
                  <a:cubicBezTo>
                    <a:pt x="346" y="518"/>
                    <a:pt x="354" y="515"/>
                    <a:pt x="362" y="513"/>
                  </a:cubicBezTo>
                  <a:cubicBezTo>
                    <a:pt x="366" y="512"/>
                    <a:pt x="371" y="512"/>
                    <a:pt x="375" y="512"/>
                  </a:cubicBezTo>
                  <a:cubicBezTo>
                    <a:pt x="377" y="512"/>
                    <a:pt x="380" y="512"/>
                    <a:pt x="382" y="512"/>
                  </a:cubicBezTo>
                  <a:cubicBezTo>
                    <a:pt x="385" y="512"/>
                    <a:pt x="387" y="512"/>
                    <a:pt x="390" y="512"/>
                  </a:cubicBezTo>
                  <a:cubicBezTo>
                    <a:pt x="410" y="514"/>
                    <a:pt x="429" y="518"/>
                    <a:pt x="448" y="526"/>
                  </a:cubicBezTo>
                  <a:cubicBezTo>
                    <a:pt x="486" y="541"/>
                    <a:pt x="521" y="567"/>
                    <a:pt x="555" y="596"/>
                  </a:cubicBezTo>
                  <a:cubicBezTo>
                    <a:pt x="571" y="611"/>
                    <a:pt x="588" y="626"/>
                    <a:pt x="604" y="641"/>
                  </a:cubicBezTo>
                  <a:cubicBezTo>
                    <a:pt x="612" y="649"/>
                    <a:pt x="621" y="657"/>
                    <a:pt x="629" y="665"/>
                  </a:cubicBezTo>
                  <a:cubicBezTo>
                    <a:pt x="638" y="672"/>
                    <a:pt x="646" y="679"/>
                    <a:pt x="654" y="687"/>
                  </a:cubicBezTo>
                  <a:cubicBezTo>
                    <a:pt x="688" y="716"/>
                    <a:pt x="720" y="747"/>
                    <a:pt x="755" y="775"/>
                  </a:cubicBezTo>
                  <a:cubicBezTo>
                    <a:pt x="773" y="789"/>
                    <a:pt x="792" y="802"/>
                    <a:pt x="812" y="814"/>
                  </a:cubicBezTo>
                  <a:cubicBezTo>
                    <a:pt x="832" y="825"/>
                    <a:pt x="855" y="835"/>
                    <a:pt x="879" y="839"/>
                  </a:cubicBezTo>
                  <a:cubicBezTo>
                    <a:pt x="903" y="844"/>
                    <a:pt x="929" y="844"/>
                    <a:pt x="952" y="839"/>
                  </a:cubicBezTo>
                  <a:cubicBezTo>
                    <a:pt x="976" y="834"/>
                    <a:pt x="997" y="824"/>
                    <a:pt x="1016" y="814"/>
                  </a:cubicBezTo>
                  <a:cubicBezTo>
                    <a:pt x="1035" y="803"/>
                    <a:pt x="1052" y="790"/>
                    <a:pt x="1068" y="778"/>
                  </a:cubicBezTo>
                  <a:cubicBezTo>
                    <a:pt x="1084" y="765"/>
                    <a:pt x="1099" y="752"/>
                    <a:pt x="1114" y="739"/>
                  </a:cubicBezTo>
                  <a:cubicBezTo>
                    <a:pt x="1128" y="726"/>
                    <a:pt x="1142" y="713"/>
                    <a:pt x="1155" y="701"/>
                  </a:cubicBezTo>
                  <a:cubicBezTo>
                    <a:pt x="1162" y="694"/>
                    <a:pt x="1169" y="688"/>
                    <a:pt x="1176" y="682"/>
                  </a:cubicBezTo>
                  <a:cubicBezTo>
                    <a:pt x="1182" y="676"/>
                    <a:pt x="1189" y="670"/>
                    <a:pt x="1196" y="664"/>
                  </a:cubicBezTo>
                  <a:cubicBezTo>
                    <a:pt x="1223" y="639"/>
                    <a:pt x="1247" y="615"/>
                    <a:pt x="1271" y="593"/>
                  </a:cubicBezTo>
                  <a:cubicBezTo>
                    <a:pt x="1294" y="573"/>
                    <a:pt x="1316" y="554"/>
                    <a:pt x="1340" y="540"/>
                  </a:cubicBezTo>
                  <a:cubicBezTo>
                    <a:pt x="1363" y="525"/>
                    <a:pt x="1386" y="515"/>
                    <a:pt x="1410" y="509"/>
                  </a:cubicBezTo>
                  <a:cubicBezTo>
                    <a:pt x="1421" y="506"/>
                    <a:pt x="1433" y="504"/>
                    <a:pt x="1444" y="503"/>
                  </a:cubicBezTo>
                  <a:cubicBezTo>
                    <a:pt x="1446" y="503"/>
                    <a:pt x="1449" y="503"/>
                    <a:pt x="1452" y="503"/>
                  </a:cubicBezTo>
                  <a:cubicBezTo>
                    <a:pt x="1455" y="503"/>
                    <a:pt x="1457" y="503"/>
                    <a:pt x="1460" y="503"/>
                  </a:cubicBezTo>
                  <a:cubicBezTo>
                    <a:pt x="1464" y="503"/>
                    <a:pt x="1469" y="504"/>
                    <a:pt x="1474" y="505"/>
                  </a:cubicBezTo>
                  <a:cubicBezTo>
                    <a:pt x="1493" y="509"/>
                    <a:pt x="1509" y="519"/>
                    <a:pt x="1522" y="531"/>
                  </a:cubicBezTo>
                  <a:cubicBezTo>
                    <a:pt x="1535" y="544"/>
                    <a:pt x="1543" y="559"/>
                    <a:pt x="1548" y="574"/>
                  </a:cubicBezTo>
                  <a:cubicBezTo>
                    <a:pt x="1550" y="582"/>
                    <a:pt x="1551" y="590"/>
                    <a:pt x="1552" y="598"/>
                  </a:cubicBezTo>
                  <a:cubicBezTo>
                    <a:pt x="1552" y="607"/>
                    <a:pt x="1552" y="616"/>
                    <a:pt x="1552" y="624"/>
                  </a:cubicBezTo>
                  <a:cubicBezTo>
                    <a:pt x="1553" y="659"/>
                    <a:pt x="1554" y="692"/>
                    <a:pt x="1555" y="724"/>
                  </a:cubicBezTo>
                  <a:cubicBezTo>
                    <a:pt x="1555" y="732"/>
                    <a:pt x="1556" y="739"/>
                    <a:pt x="1556" y="747"/>
                  </a:cubicBezTo>
                  <a:cubicBezTo>
                    <a:pt x="1556" y="749"/>
                    <a:pt x="1556" y="752"/>
                    <a:pt x="1556" y="754"/>
                  </a:cubicBezTo>
                  <a:cubicBezTo>
                    <a:pt x="1556" y="756"/>
                    <a:pt x="1556" y="758"/>
                    <a:pt x="1557" y="761"/>
                  </a:cubicBezTo>
                  <a:cubicBezTo>
                    <a:pt x="1557" y="765"/>
                    <a:pt x="1558" y="769"/>
                    <a:pt x="1559" y="774"/>
                  </a:cubicBezTo>
                  <a:cubicBezTo>
                    <a:pt x="1564" y="791"/>
                    <a:pt x="1573" y="806"/>
                    <a:pt x="1584" y="819"/>
                  </a:cubicBezTo>
                  <a:cubicBezTo>
                    <a:pt x="1602" y="841"/>
                    <a:pt x="1628" y="858"/>
                    <a:pt x="1656" y="869"/>
                  </a:cubicBezTo>
                  <a:cubicBezTo>
                    <a:pt x="1670" y="875"/>
                    <a:pt x="1685" y="879"/>
                    <a:pt x="1700" y="881"/>
                  </a:cubicBezTo>
                  <a:cubicBezTo>
                    <a:pt x="1708" y="882"/>
                    <a:pt x="1716" y="882"/>
                    <a:pt x="1723" y="882"/>
                  </a:cubicBezTo>
                  <a:cubicBezTo>
                    <a:pt x="1731" y="882"/>
                    <a:pt x="1738" y="881"/>
                    <a:pt x="1745" y="881"/>
                  </a:cubicBezTo>
                  <a:cubicBezTo>
                    <a:pt x="1749" y="881"/>
                    <a:pt x="1752" y="881"/>
                    <a:pt x="1756" y="880"/>
                  </a:cubicBezTo>
                  <a:cubicBezTo>
                    <a:pt x="1759" y="880"/>
                    <a:pt x="1763" y="880"/>
                    <a:pt x="1767" y="880"/>
                  </a:cubicBezTo>
                  <a:cubicBezTo>
                    <a:pt x="1775" y="879"/>
                    <a:pt x="1783" y="878"/>
                    <a:pt x="1790" y="876"/>
                  </a:cubicBezTo>
                  <a:cubicBezTo>
                    <a:pt x="1792" y="875"/>
                    <a:pt x="1794" y="875"/>
                    <a:pt x="1795" y="874"/>
                  </a:cubicBezTo>
                  <a:cubicBezTo>
                    <a:pt x="1797" y="873"/>
                    <a:pt x="1799" y="872"/>
                    <a:pt x="1800" y="870"/>
                  </a:cubicBezTo>
                  <a:cubicBezTo>
                    <a:pt x="1803" y="868"/>
                    <a:pt x="1804" y="864"/>
                    <a:pt x="1805" y="861"/>
                  </a:cubicBezTo>
                  <a:cubicBezTo>
                    <a:pt x="1807" y="854"/>
                    <a:pt x="1806" y="846"/>
                    <a:pt x="1806" y="839"/>
                  </a:cubicBezTo>
                  <a:cubicBezTo>
                    <a:pt x="1806" y="836"/>
                    <a:pt x="1806" y="832"/>
                    <a:pt x="1806" y="829"/>
                  </a:cubicBezTo>
                  <a:close/>
                  <a:moveTo>
                    <a:pt x="1637" y="843"/>
                  </a:moveTo>
                  <a:cubicBezTo>
                    <a:pt x="1633" y="842"/>
                    <a:pt x="1627" y="839"/>
                    <a:pt x="1619" y="834"/>
                  </a:cubicBezTo>
                  <a:cubicBezTo>
                    <a:pt x="1611" y="829"/>
                    <a:pt x="1602" y="822"/>
                    <a:pt x="1592" y="811"/>
                  </a:cubicBezTo>
                  <a:cubicBezTo>
                    <a:pt x="1585" y="803"/>
                    <a:pt x="1579" y="794"/>
                    <a:pt x="1573" y="783"/>
                  </a:cubicBezTo>
                  <a:cubicBezTo>
                    <a:pt x="1571" y="777"/>
                    <a:pt x="1569" y="771"/>
                    <a:pt x="1567" y="765"/>
                  </a:cubicBezTo>
                  <a:cubicBezTo>
                    <a:pt x="1566" y="761"/>
                    <a:pt x="1566" y="758"/>
                    <a:pt x="1566" y="754"/>
                  </a:cubicBezTo>
                  <a:cubicBezTo>
                    <a:pt x="1565" y="752"/>
                    <a:pt x="1565" y="750"/>
                    <a:pt x="1565" y="749"/>
                  </a:cubicBezTo>
                  <a:cubicBezTo>
                    <a:pt x="1565" y="747"/>
                    <a:pt x="1565" y="745"/>
                    <a:pt x="1565" y="743"/>
                  </a:cubicBezTo>
                  <a:cubicBezTo>
                    <a:pt x="1564" y="720"/>
                    <a:pt x="1563" y="693"/>
                    <a:pt x="1562" y="663"/>
                  </a:cubicBezTo>
                  <a:cubicBezTo>
                    <a:pt x="1562" y="648"/>
                    <a:pt x="1562" y="632"/>
                    <a:pt x="1561" y="615"/>
                  </a:cubicBezTo>
                  <a:cubicBezTo>
                    <a:pt x="1561" y="611"/>
                    <a:pt x="1561" y="607"/>
                    <a:pt x="1561" y="602"/>
                  </a:cubicBezTo>
                  <a:cubicBezTo>
                    <a:pt x="1561" y="600"/>
                    <a:pt x="1561" y="598"/>
                    <a:pt x="1561" y="596"/>
                  </a:cubicBezTo>
                  <a:cubicBezTo>
                    <a:pt x="1560" y="594"/>
                    <a:pt x="1560" y="592"/>
                    <a:pt x="1560" y="590"/>
                  </a:cubicBezTo>
                  <a:cubicBezTo>
                    <a:pt x="1559" y="582"/>
                    <a:pt x="1557" y="574"/>
                    <a:pt x="1554" y="566"/>
                  </a:cubicBezTo>
                  <a:cubicBezTo>
                    <a:pt x="1549" y="550"/>
                    <a:pt x="1539" y="535"/>
                    <a:pt x="1526" y="523"/>
                  </a:cubicBezTo>
                  <a:cubicBezTo>
                    <a:pt x="1513" y="510"/>
                    <a:pt x="1496" y="501"/>
                    <a:pt x="1477" y="497"/>
                  </a:cubicBezTo>
                  <a:cubicBezTo>
                    <a:pt x="1472" y="496"/>
                    <a:pt x="1468" y="495"/>
                    <a:pt x="1463" y="495"/>
                  </a:cubicBezTo>
                  <a:cubicBezTo>
                    <a:pt x="1458" y="494"/>
                    <a:pt x="1453" y="494"/>
                    <a:pt x="1448" y="494"/>
                  </a:cubicBezTo>
                  <a:cubicBezTo>
                    <a:pt x="1438" y="495"/>
                    <a:pt x="1427" y="496"/>
                    <a:pt x="1417" y="498"/>
                  </a:cubicBezTo>
                  <a:cubicBezTo>
                    <a:pt x="1396" y="503"/>
                    <a:pt x="1375" y="510"/>
                    <a:pt x="1355" y="521"/>
                  </a:cubicBezTo>
                  <a:cubicBezTo>
                    <a:pt x="1335" y="532"/>
                    <a:pt x="1315" y="546"/>
                    <a:pt x="1296" y="561"/>
                  </a:cubicBezTo>
                  <a:cubicBezTo>
                    <a:pt x="1276" y="576"/>
                    <a:pt x="1258" y="594"/>
                    <a:pt x="1239" y="612"/>
                  </a:cubicBezTo>
                  <a:cubicBezTo>
                    <a:pt x="1220" y="630"/>
                    <a:pt x="1200" y="649"/>
                    <a:pt x="1179" y="668"/>
                  </a:cubicBezTo>
                  <a:cubicBezTo>
                    <a:pt x="1159" y="687"/>
                    <a:pt x="1138" y="706"/>
                    <a:pt x="1117" y="726"/>
                  </a:cubicBezTo>
                  <a:cubicBezTo>
                    <a:pt x="1095" y="745"/>
                    <a:pt x="1073" y="765"/>
                    <a:pt x="1048" y="784"/>
                  </a:cubicBezTo>
                  <a:cubicBezTo>
                    <a:pt x="1036" y="793"/>
                    <a:pt x="1022" y="802"/>
                    <a:pt x="1008" y="810"/>
                  </a:cubicBezTo>
                  <a:cubicBezTo>
                    <a:pt x="994" y="818"/>
                    <a:pt x="978" y="824"/>
                    <a:pt x="962" y="829"/>
                  </a:cubicBezTo>
                  <a:cubicBezTo>
                    <a:pt x="945" y="834"/>
                    <a:pt x="927" y="836"/>
                    <a:pt x="910" y="836"/>
                  </a:cubicBezTo>
                  <a:cubicBezTo>
                    <a:pt x="892" y="835"/>
                    <a:pt x="874" y="832"/>
                    <a:pt x="857" y="827"/>
                  </a:cubicBezTo>
                  <a:cubicBezTo>
                    <a:pt x="840" y="821"/>
                    <a:pt x="825" y="813"/>
                    <a:pt x="810" y="805"/>
                  </a:cubicBezTo>
                  <a:cubicBezTo>
                    <a:pt x="795" y="796"/>
                    <a:pt x="781" y="786"/>
                    <a:pt x="767" y="776"/>
                  </a:cubicBezTo>
                  <a:cubicBezTo>
                    <a:pt x="741" y="756"/>
                    <a:pt x="716" y="733"/>
                    <a:pt x="691" y="711"/>
                  </a:cubicBezTo>
                  <a:cubicBezTo>
                    <a:pt x="678" y="700"/>
                    <a:pt x="666" y="689"/>
                    <a:pt x="653" y="678"/>
                  </a:cubicBezTo>
                  <a:cubicBezTo>
                    <a:pt x="647" y="672"/>
                    <a:pt x="641" y="666"/>
                    <a:pt x="634" y="661"/>
                  </a:cubicBezTo>
                  <a:cubicBezTo>
                    <a:pt x="628" y="655"/>
                    <a:pt x="621" y="649"/>
                    <a:pt x="615" y="643"/>
                  </a:cubicBezTo>
                  <a:cubicBezTo>
                    <a:pt x="590" y="620"/>
                    <a:pt x="565" y="597"/>
                    <a:pt x="539" y="576"/>
                  </a:cubicBezTo>
                  <a:cubicBezTo>
                    <a:pt x="513" y="555"/>
                    <a:pt x="486" y="536"/>
                    <a:pt x="456" y="523"/>
                  </a:cubicBezTo>
                  <a:cubicBezTo>
                    <a:pt x="442" y="517"/>
                    <a:pt x="427" y="512"/>
                    <a:pt x="411" y="510"/>
                  </a:cubicBezTo>
                  <a:cubicBezTo>
                    <a:pt x="403" y="508"/>
                    <a:pt x="396" y="507"/>
                    <a:pt x="388" y="507"/>
                  </a:cubicBezTo>
                  <a:cubicBezTo>
                    <a:pt x="384" y="507"/>
                    <a:pt x="380" y="506"/>
                    <a:pt x="376" y="507"/>
                  </a:cubicBezTo>
                  <a:cubicBezTo>
                    <a:pt x="373" y="507"/>
                    <a:pt x="369" y="507"/>
                    <a:pt x="366" y="507"/>
                  </a:cubicBezTo>
                  <a:cubicBezTo>
                    <a:pt x="352" y="509"/>
                    <a:pt x="338" y="515"/>
                    <a:pt x="327" y="523"/>
                  </a:cubicBezTo>
                  <a:cubicBezTo>
                    <a:pt x="315" y="531"/>
                    <a:pt x="305" y="542"/>
                    <a:pt x="298" y="554"/>
                  </a:cubicBezTo>
                  <a:cubicBezTo>
                    <a:pt x="291" y="567"/>
                    <a:pt x="287" y="581"/>
                    <a:pt x="286" y="595"/>
                  </a:cubicBezTo>
                  <a:cubicBezTo>
                    <a:pt x="286" y="597"/>
                    <a:pt x="286" y="598"/>
                    <a:pt x="286" y="600"/>
                  </a:cubicBezTo>
                  <a:cubicBezTo>
                    <a:pt x="286" y="607"/>
                    <a:pt x="286" y="607"/>
                    <a:pt x="286" y="607"/>
                  </a:cubicBezTo>
                  <a:cubicBezTo>
                    <a:pt x="286" y="621"/>
                    <a:pt x="286" y="621"/>
                    <a:pt x="286" y="621"/>
                  </a:cubicBezTo>
                  <a:cubicBezTo>
                    <a:pt x="286" y="630"/>
                    <a:pt x="286" y="639"/>
                    <a:pt x="286" y="648"/>
                  </a:cubicBezTo>
                  <a:cubicBezTo>
                    <a:pt x="286" y="685"/>
                    <a:pt x="286" y="722"/>
                    <a:pt x="286" y="759"/>
                  </a:cubicBezTo>
                  <a:cubicBezTo>
                    <a:pt x="286" y="777"/>
                    <a:pt x="286" y="796"/>
                    <a:pt x="286" y="814"/>
                  </a:cubicBezTo>
                  <a:cubicBezTo>
                    <a:pt x="286" y="828"/>
                    <a:pt x="286" y="828"/>
                    <a:pt x="286" y="828"/>
                  </a:cubicBezTo>
                  <a:cubicBezTo>
                    <a:pt x="286" y="832"/>
                    <a:pt x="286" y="832"/>
                    <a:pt x="286" y="832"/>
                  </a:cubicBezTo>
                  <a:cubicBezTo>
                    <a:pt x="286" y="834"/>
                    <a:pt x="286" y="834"/>
                    <a:pt x="286" y="834"/>
                  </a:cubicBezTo>
                  <a:cubicBezTo>
                    <a:pt x="286" y="837"/>
                    <a:pt x="286" y="837"/>
                    <a:pt x="286" y="837"/>
                  </a:cubicBezTo>
                  <a:cubicBezTo>
                    <a:pt x="286" y="848"/>
                    <a:pt x="286" y="848"/>
                    <a:pt x="286" y="848"/>
                  </a:cubicBezTo>
                  <a:cubicBezTo>
                    <a:pt x="286" y="852"/>
                    <a:pt x="286" y="856"/>
                    <a:pt x="285" y="859"/>
                  </a:cubicBezTo>
                  <a:cubicBezTo>
                    <a:pt x="285" y="863"/>
                    <a:pt x="284" y="866"/>
                    <a:pt x="283" y="870"/>
                  </a:cubicBezTo>
                  <a:cubicBezTo>
                    <a:pt x="281" y="876"/>
                    <a:pt x="277" y="882"/>
                    <a:pt x="271" y="887"/>
                  </a:cubicBezTo>
                  <a:cubicBezTo>
                    <a:pt x="260" y="895"/>
                    <a:pt x="244" y="897"/>
                    <a:pt x="229" y="898"/>
                  </a:cubicBezTo>
                  <a:cubicBezTo>
                    <a:pt x="220" y="899"/>
                    <a:pt x="220" y="899"/>
                    <a:pt x="220" y="899"/>
                  </a:cubicBezTo>
                  <a:cubicBezTo>
                    <a:pt x="213" y="899"/>
                    <a:pt x="213" y="899"/>
                    <a:pt x="213" y="899"/>
                  </a:cubicBezTo>
                  <a:cubicBezTo>
                    <a:pt x="208" y="899"/>
                    <a:pt x="203" y="899"/>
                    <a:pt x="198" y="899"/>
                  </a:cubicBezTo>
                  <a:cubicBezTo>
                    <a:pt x="184" y="899"/>
                    <a:pt x="184" y="899"/>
                    <a:pt x="184" y="899"/>
                  </a:cubicBezTo>
                  <a:cubicBezTo>
                    <a:pt x="176" y="899"/>
                    <a:pt x="176" y="899"/>
                    <a:pt x="176" y="899"/>
                  </a:cubicBezTo>
                  <a:cubicBezTo>
                    <a:pt x="174" y="899"/>
                    <a:pt x="171" y="899"/>
                    <a:pt x="168" y="899"/>
                  </a:cubicBezTo>
                  <a:cubicBezTo>
                    <a:pt x="157" y="898"/>
                    <a:pt x="146" y="896"/>
                    <a:pt x="136" y="893"/>
                  </a:cubicBezTo>
                  <a:cubicBezTo>
                    <a:pt x="115" y="888"/>
                    <a:pt x="95" y="879"/>
                    <a:pt x="77" y="867"/>
                  </a:cubicBezTo>
                  <a:cubicBezTo>
                    <a:pt x="59" y="856"/>
                    <a:pt x="42" y="841"/>
                    <a:pt x="29" y="822"/>
                  </a:cubicBezTo>
                  <a:cubicBezTo>
                    <a:pt x="23" y="813"/>
                    <a:pt x="17" y="803"/>
                    <a:pt x="13" y="792"/>
                  </a:cubicBezTo>
                  <a:cubicBezTo>
                    <a:pt x="9" y="781"/>
                    <a:pt x="6" y="769"/>
                    <a:pt x="5" y="757"/>
                  </a:cubicBezTo>
                  <a:cubicBezTo>
                    <a:pt x="5" y="753"/>
                    <a:pt x="5" y="753"/>
                    <a:pt x="5" y="753"/>
                  </a:cubicBezTo>
                  <a:cubicBezTo>
                    <a:pt x="5" y="748"/>
                    <a:pt x="5" y="748"/>
                    <a:pt x="5" y="748"/>
                  </a:cubicBezTo>
                  <a:cubicBezTo>
                    <a:pt x="5" y="741"/>
                    <a:pt x="5" y="741"/>
                    <a:pt x="5" y="741"/>
                  </a:cubicBezTo>
                  <a:cubicBezTo>
                    <a:pt x="5" y="727"/>
                    <a:pt x="5" y="727"/>
                    <a:pt x="5" y="727"/>
                  </a:cubicBezTo>
                  <a:cubicBezTo>
                    <a:pt x="5" y="699"/>
                    <a:pt x="5" y="699"/>
                    <a:pt x="5" y="699"/>
                  </a:cubicBezTo>
                  <a:cubicBezTo>
                    <a:pt x="5" y="548"/>
                    <a:pt x="6" y="396"/>
                    <a:pt x="7" y="247"/>
                  </a:cubicBezTo>
                  <a:cubicBezTo>
                    <a:pt x="7" y="177"/>
                    <a:pt x="8" y="57"/>
                    <a:pt x="8" y="42"/>
                  </a:cubicBezTo>
                  <a:cubicBezTo>
                    <a:pt x="8" y="27"/>
                    <a:pt x="14" y="4"/>
                    <a:pt x="46" y="4"/>
                  </a:cubicBezTo>
                  <a:cubicBezTo>
                    <a:pt x="78" y="4"/>
                    <a:pt x="124" y="5"/>
                    <a:pt x="162" y="5"/>
                  </a:cubicBezTo>
                  <a:cubicBezTo>
                    <a:pt x="180" y="5"/>
                    <a:pt x="197" y="5"/>
                    <a:pt x="214" y="5"/>
                  </a:cubicBezTo>
                  <a:cubicBezTo>
                    <a:pt x="216" y="5"/>
                    <a:pt x="218" y="5"/>
                    <a:pt x="221" y="5"/>
                  </a:cubicBezTo>
                  <a:cubicBezTo>
                    <a:pt x="223" y="6"/>
                    <a:pt x="225" y="6"/>
                    <a:pt x="228" y="6"/>
                  </a:cubicBezTo>
                  <a:cubicBezTo>
                    <a:pt x="232" y="6"/>
                    <a:pt x="237" y="7"/>
                    <a:pt x="241" y="8"/>
                  </a:cubicBezTo>
                  <a:cubicBezTo>
                    <a:pt x="250" y="9"/>
                    <a:pt x="259" y="11"/>
                    <a:pt x="268" y="13"/>
                  </a:cubicBezTo>
                  <a:cubicBezTo>
                    <a:pt x="303" y="22"/>
                    <a:pt x="335" y="39"/>
                    <a:pt x="362" y="61"/>
                  </a:cubicBezTo>
                  <a:cubicBezTo>
                    <a:pt x="365" y="63"/>
                    <a:pt x="368" y="66"/>
                    <a:pt x="371" y="69"/>
                  </a:cubicBezTo>
                  <a:cubicBezTo>
                    <a:pt x="376" y="74"/>
                    <a:pt x="376" y="74"/>
                    <a:pt x="376" y="74"/>
                  </a:cubicBezTo>
                  <a:cubicBezTo>
                    <a:pt x="380" y="78"/>
                    <a:pt x="380" y="78"/>
                    <a:pt x="380" y="78"/>
                  </a:cubicBezTo>
                  <a:cubicBezTo>
                    <a:pt x="386" y="83"/>
                    <a:pt x="392" y="88"/>
                    <a:pt x="397" y="94"/>
                  </a:cubicBezTo>
                  <a:cubicBezTo>
                    <a:pt x="409" y="105"/>
                    <a:pt x="420" y="115"/>
                    <a:pt x="431" y="126"/>
                  </a:cubicBezTo>
                  <a:cubicBezTo>
                    <a:pt x="453" y="147"/>
                    <a:pt x="474" y="168"/>
                    <a:pt x="495" y="188"/>
                  </a:cubicBezTo>
                  <a:cubicBezTo>
                    <a:pt x="516" y="208"/>
                    <a:pt x="537" y="228"/>
                    <a:pt x="557" y="247"/>
                  </a:cubicBezTo>
                  <a:cubicBezTo>
                    <a:pt x="559" y="249"/>
                    <a:pt x="562" y="252"/>
                    <a:pt x="564" y="254"/>
                  </a:cubicBezTo>
                  <a:cubicBezTo>
                    <a:pt x="568" y="258"/>
                    <a:pt x="568" y="258"/>
                    <a:pt x="568" y="258"/>
                  </a:cubicBezTo>
                  <a:cubicBezTo>
                    <a:pt x="570" y="259"/>
                    <a:pt x="571" y="260"/>
                    <a:pt x="572" y="261"/>
                  </a:cubicBezTo>
                  <a:cubicBezTo>
                    <a:pt x="577" y="266"/>
                    <a:pt x="581" y="271"/>
                    <a:pt x="586" y="275"/>
                  </a:cubicBezTo>
                  <a:cubicBezTo>
                    <a:pt x="596" y="284"/>
                    <a:pt x="606" y="292"/>
                    <a:pt x="616" y="300"/>
                  </a:cubicBezTo>
                  <a:cubicBezTo>
                    <a:pt x="656" y="331"/>
                    <a:pt x="699" y="354"/>
                    <a:pt x="741" y="370"/>
                  </a:cubicBezTo>
                  <a:cubicBezTo>
                    <a:pt x="783" y="386"/>
                    <a:pt x="825" y="395"/>
                    <a:pt x="864" y="400"/>
                  </a:cubicBezTo>
                  <a:cubicBezTo>
                    <a:pt x="903" y="404"/>
                    <a:pt x="940" y="404"/>
                    <a:pt x="972" y="401"/>
                  </a:cubicBezTo>
                  <a:cubicBezTo>
                    <a:pt x="1038" y="396"/>
                    <a:pt x="1089" y="380"/>
                    <a:pt x="1125" y="366"/>
                  </a:cubicBezTo>
                  <a:cubicBezTo>
                    <a:pt x="1148" y="357"/>
                    <a:pt x="1165" y="349"/>
                    <a:pt x="1175" y="344"/>
                  </a:cubicBezTo>
                  <a:cubicBezTo>
                    <a:pt x="1186" y="339"/>
                    <a:pt x="1191" y="338"/>
                    <a:pt x="1191" y="339"/>
                  </a:cubicBezTo>
                  <a:cubicBezTo>
                    <a:pt x="1191" y="341"/>
                    <a:pt x="1185" y="346"/>
                    <a:pt x="1175" y="353"/>
                  </a:cubicBezTo>
                  <a:cubicBezTo>
                    <a:pt x="1164" y="361"/>
                    <a:pt x="1147" y="371"/>
                    <a:pt x="1123" y="383"/>
                  </a:cubicBezTo>
                  <a:cubicBezTo>
                    <a:pt x="1117" y="386"/>
                    <a:pt x="1104" y="393"/>
                    <a:pt x="1084" y="400"/>
                  </a:cubicBezTo>
                  <a:cubicBezTo>
                    <a:pt x="1063" y="408"/>
                    <a:pt x="1035" y="417"/>
                    <a:pt x="1000" y="423"/>
                  </a:cubicBezTo>
                  <a:cubicBezTo>
                    <a:pt x="965" y="429"/>
                    <a:pt x="923" y="433"/>
                    <a:pt x="875" y="430"/>
                  </a:cubicBezTo>
                  <a:cubicBezTo>
                    <a:pt x="828" y="427"/>
                    <a:pt x="775" y="418"/>
                    <a:pt x="721" y="398"/>
                  </a:cubicBezTo>
                  <a:cubicBezTo>
                    <a:pt x="661" y="376"/>
                    <a:pt x="604" y="341"/>
                    <a:pt x="555" y="296"/>
                  </a:cubicBezTo>
                  <a:cubicBezTo>
                    <a:pt x="552" y="293"/>
                    <a:pt x="549" y="290"/>
                    <a:pt x="546" y="287"/>
                  </a:cubicBezTo>
                  <a:cubicBezTo>
                    <a:pt x="544" y="285"/>
                    <a:pt x="544" y="285"/>
                    <a:pt x="544" y="285"/>
                  </a:cubicBezTo>
                  <a:cubicBezTo>
                    <a:pt x="542" y="283"/>
                    <a:pt x="542" y="283"/>
                    <a:pt x="542" y="283"/>
                  </a:cubicBezTo>
                  <a:cubicBezTo>
                    <a:pt x="537" y="279"/>
                    <a:pt x="537" y="279"/>
                    <a:pt x="537" y="279"/>
                  </a:cubicBezTo>
                  <a:cubicBezTo>
                    <a:pt x="531" y="274"/>
                    <a:pt x="526" y="268"/>
                    <a:pt x="520" y="263"/>
                  </a:cubicBezTo>
                  <a:cubicBezTo>
                    <a:pt x="508" y="251"/>
                    <a:pt x="496" y="240"/>
                    <a:pt x="484" y="229"/>
                  </a:cubicBezTo>
                  <a:cubicBezTo>
                    <a:pt x="460" y="207"/>
                    <a:pt x="436" y="184"/>
                    <a:pt x="411" y="162"/>
                  </a:cubicBezTo>
                  <a:cubicBezTo>
                    <a:pt x="399" y="150"/>
                    <a:pt x="387" y="139"/>
                    <a:pt x="375" y="127"/>
                  </a:cubicBezTo>
                  <a:cubicBezTo>
                    <a:pt x="369" y="122"/>
                    <a:pt x="362" y="116"/>
                    <a:pt x="356" y="110"/>
                  </a:cubicBezTo>
                  <a:cubicBezTo>
                    <a:pt x="347" y="102"/>
                    <a:pt x="347" y="102"/>
                    <a:pt x="347" y="102"/>
                  </a:cubicBezTo>
                  <a:cubicBezTo>
                    <a:pt x="345" y="100"/>
                    <a:pt x="345" y="100"/>
                    <a:pt x="345" y="100"/>
                  </a:cubicBezTo>
                  <a:cubicBezTo>
                    <a:pt x="343" y="98"/>
                    <a:pt x="343" y="98"/>
                    <a:pt x="343" y="98"/>
                  </a:cubicBezTo>
                  <a:cubicBezTo>
                    <a:pt x="338" y="94"/>
                    <a:pt x="338" y="94"/>
                    <a:pt x="338" y="94"/>
                  </a:cubicBezTo>
                  <a:cubicBezTo>
                    <a:pt x="315" y="75"/>
                    <a:pt x="287" y="60"/>
                    <a:pt x="257" y="53"/>
                  </a:cubicBezTo>
                  <a:cubicBezTo>
                    <a:pt x="242" y="49"/>
                    <a:pt x="226" y="47"/>
                    <a:pt x="211" y="47"/>
                  </a:cubicBezTo>
                  <a:cubicBezTo>
                    <a:pt x="193" y="47"/>
                    <a:pt x="176" y="48"/>
                    <a:pt x="159" y="48"/>
                  </a:cubicBezTo>
                  <a:cubicBezTo>
                    <a:pt x="127" y="48"/>
                    <a:pt x="76" y="48"/>
                    <a:pt x="64" y="48"/>
                  </a:cubicBezTo>
                  <a:cubicBezTo>
                    <a:pt x="52" y="48"/>
                    <a:pt x="52" y="56"/>
                    <a:pt x="52" y="60"/>
                  </a:cubicBezTo>
                  <a:cubicBezTo>
                    <a:pt x="52" y="64"/>
                    <a:pt x="53" y="470"/>
                    <a:pt x="54" y="676"/>
                  </a:cubicBezTo>
                  <a:cubicBezTo>
                    <a:pt x="54" y="689"/>
                    <a:pt x="54" y="702"/>
                    <a:pt x="54" y="715"/>
                  </a:cubicBezTo>
                  <a:cubicBezTo>
                    <a:pt x="54" y="734"/>
                    <a:pt x="54" y="734"/>
                    <a:pt x="54" y="734"/>
                  </a:cubicBezTo>
                  <a:cubicBezTo>
                    <a:pt x="54" y="744"/>
                    <a:pt x="54" y="744"/>
                    <a:pt x="54" y="744"/>
                  </a:cubicBezTo>
                  <a:cubicBezTo>
                    <a:pt x="54" y="749"/>
                    <a:pt x="54" y="749"/>
                    <a:pt x="54" y="749"/>
                  </a:cubicBezTo>
                  <a:cubicBezTo>
                    <a:pt x="54" y="750"/>
                    <a:pt x="54" y="751"/>
                    <a:pt x="54" y="752"/>
                  </a:cubicBezTo>
                  <a:cubicBezTo>
                    <a:pt x="55" y="771"/>
                    <a:pt x="65" y="790"/>
                    <a:pt x="80" y="806"/>
                  </a:cubicBezTo>
                  <a:cubicBezTo>
                    <a:pt x="95" y="821"/>
                    <a:pt x="115" y="833"/>
                    <a:pt x="136" y="841"/>
                  </a:cubicBezTo>
                  <a:cubicBezTo>
                    <a:pt x="146" y="844"/>
                    <a:pt x="157" y="847"/>
                    <a:pt x="168" y="848"/>
                  </a:cubicBezTo>
                  <a:cubicBezTo>
                    <a:pt x="170" y="848"/>
                    <a:pt x="173" y="848"/>
                    <a:pt x="175" y="849"/>
                  </a:cubicBezTo>
                  <a:cubicBezTo>
                    <a:pt x="177" y="849"/>
                    <a:pt x="178" y="849"/>
                    <a:pt x="179" y="849"/>
                  </a:cubicBezTo>
                  <a:cubicBezTo>
                    <a:pt x="184" y="849"/>
                    <a:pt x="184" y="849"/>
                    <a:pt x="184" y="849"/>
                  </a:cubicBezTo>
                  <a:cubicBezTo>
                    <a:pt x="191" y="849"/>
                    <a:pt x="197" y="848"/>
                    <a:pt x="203" y="848"/>
                  </a:cubicBezTo>
                  <a:cubicBezTo>
                    <a:pt x="209" y="848"/>
                    <a:pt x="215" y="848"/>
                    <a:pt x="221" y="848"/>
                  </a:cubicBezTo>
                  <a:cubicBezTo>
                    <a:pt x="224" y="847"/>
                    <a:pt x="224" y="847"/>
                    <a:pt x="224" y="847"/>
                  </a:cubicBezTo>
                  <a:cubicBezTo>
                    <a:pt x="225" y="847"/>
                    <a:pt x="225" y="847"/>
                    <a:pt x="225" y="847"/>
                  </a:cubicBezTo>
                  <a:cubicBezTo>
                    <a:pt x="226" y="847"/>
                    <a:pt x="228" y="847"/>
                    <a:pt x="229" y="847"/>
                  </a:cubicBezTo>
                  <a:cubicBezTo>
                    <a:pt x="230" y="847"/>
                    <a:pt x="231" y="846"/>
                    <a:pt x="232" y="846"/>
                  </a:cubicBezTo>
                  <a:cubicBezTo>
                    <a:pt x="233" y="846"/>
                    <a:pt x="234" y="845"/>
                    <a:pt x="234" y="844"/>
                  </a:cubicBezTo>
                  <a:cubicBezTo>
                    <a:pt x="235" y="842"/>
                    <a:pt x="235" y="839"/>
                    <a:pt x="235" y="837"/>
                  </a:cubicBezTo>
                  <a:cubicBezTo>
                    <a:pt x="235" y="814"/>
                    <a:pt x="235" y="791"/>
                    <a:pt x="235" y="768"/>
                  </a:cubicBezTo>
                  <a:cubicBezTo>
                    <a:pt x="234" y="717"/>
                    <a:pt x="234" y="667"/>
                    <a:pt x="234" y="617"/>
                  </a:cubicBezTo>
                  <a:cubicBezTo>
                    <a:pt x="234" y="610"/>
                    <a:pt x="234" y="604"/>
                    <a:pt x="234" y="597"/>
                  </a:cubicBezTo>
                  <a:cubicBezTo>
                    <a:pt x="234" y="589"/>
                    <a:pt x="235" y="582"/>
                    <a:pt x="236" y="574"/>
                  </a:cubicBezTo>
                  <a:cubicBezTo>
                    <a:pt x="239" y="559"/>
                    <a:pt x="244" y="544"/>
                    <a:pt x="252" y="530"/>
                  </a:cubicBezTo>
                  <a:cubicBezTo>
                    <a:pt x="267" y="502"/>
                    <a:pt x="291" y="479"/>
                    <a:pt x="320" y="466"/>
                  </a:cubicBezTo>
                  <a:cubicBezTo>
                    <a:pt x="335" y="460"/>
                    <a:pt x="351" y="456"/>
                    <a:pt x="367" y="454"/>
                  </a:cubicBezTo>
                  <a:cubicBezTo>
                    <a:pt x="371" y="454"/>
                    <a:pt x="375" y="454"/>
                    <a:pt x="379" y="454"/>
                  </a:cubicBezTo>
                  <a:cubicBezTo>
                    <a:pt x="383" y="454"/>
                    <a:pt x="386" y="454"/>
                    <a:pt x="390" y="454"/>
                  </a:cubicBezTo>
                  <a:cubicBezTo>
                    <a:pt x="397" y="455"/>
                    <a:pt x="405" y="455"/>
                    <a:pt x="412" y="457"/>
                  </a:cubicBezTo>
                  <a:cubicBezTo>
                    <a:pt x="441" y="461"/>
                    <a:pt x="470" y="471"/>
                    <a:pt x="495" y="484"/>
                  </a:cubicBezTo>
                  <a:cubicBezTo>
                    <a:pt x="521" y="497"/>
                    <a:pt x="544" y="513"/>
                    <a:pt x="565" y="530"/>
                  </a:cubicBezTo>
                  <a:cubicBezTo>
                    <a:pt x="587" y="547"/>
                    <a:pt x="607" y="566"/>
                    <a:pt x="626" y="584"/>
                  </a:cubicBezTo>
                  <a:cubicBezTo>
                    <a:pt x="635" y="593"/>
                    <a:pt x="645" y="601"/>
                    <a:pt x="654" y="610"/>
                  </a:cubicBezTo>
                  <a:cubicBezTo>
                    <a:pt x="668" y="623"/>
                    <a:pt x="668" y="623"/>
                    <a:pt x="668" y="623"/>
                  </a:cubicBezTo>
                  <a:cubicBezTo>
                    <a:pt x="673" y="628"/>
                    <a:pt x="678" y="632"/>
                    <a:pt x="683" y="636"/>
                  </a:cubicBezTo>
                  <a:cubicBezTo>
                    <a:pt x="702" y="654"/>
                    <a:pt x="721" y="671"/>
                    <a:pt x="740" y="689"/>
                  </a:cubicBezTo>
                  <a:cubicBezTo>
                    <a:pt x="759" y="706"/>
                    <a:pt x="777" y="722"/>
                    <a:pt x="796" y="737"/>
                  </a:cubicBezTo>
                  <a:cubicBezTo>
                    <a:pt x="815" y="752"/>
                    <a:pt x="834" y="765"/>
                    <a:pt x="854" y="774"/>
                  </a:cubicBezTo>
                  <a:cubicBezTo>
                    <a:pt x="874" y="784"/>
                    <a:pt x="894" y="789"/>
                    <a:pt x="914" y="790"/>
                  </a:cubicBezTo>
                  <a:cubicBezTo>
                    <a:pt x="934" y="790"/>
                    <a:pt x="954" y="786"/>
                    <a:pt x="973" y="777"/>
                  </a:cubicBezTo>
                  <a:cubicBezTo>
                    <a:pt x="992" y="769"/>
                    <a:pt x="1010" y="758"/>
                    <a:pt x="1027" y="745"/>
                  </a:cubicBezTo>
                  <a:cubicBezTo>
                    <a:pt x="1045" y="733"/>
                    <a:pt x="1061" y="719"/>
                    <a:pt x="1077" y="705"/>
                  </a:cubicBezTo>
                  <a:cubicBezTo>
                    <a:pt x="1093" y="691"/>
                    <a:pt x="1109" y="677"/>
                    <a:pt x="1125" y="663"/>
                  </a:cubicBezTo>
                  <a:cubicBezTo>
                    <a:pt x="1132" y="657"/>
                    <a:pt x="1140" y="650"/>
                    <a:pt x="1148" y="643"/>
                  </a:cubicBezTo>
                  <a:cubicBezTo>
                    <a:pt x="1151" y="640"/>
                    <a:pt x="1155" y="637"/>
                    <a:pt x="1159" y="633"/>
                  </a:cubicBezTo>
                  <a:cubicBezTo>
                    <a:pt x="1163" y="630"/>
                    <a:pt x="1166" y="627"/>
                    <a:pt x="1170" y="624"/>
                  </a:cubicBezTo>
                  <a:cubicBezTo>
                    <a:pt x="1202" y="595"/>
                    <a:pt x="1234" y="564"/>
                    <a:pt x="1269" y="537"/>
                  </a:cubicBezTo>
                  <a:cubicBezTo>
                    <a:pt x="1287" y="523"/>
                    <a:pt x="1305" y="510"/>
                    <a:pt x="1325" y="499"/>
                  </a:cubicBezTo>
                  <a:cubicBezTo>
                    <a:pt x="1344" y="488"/>
                    <a:pt x="1365" y="479"/>
                    <a:pt x="1387" y="472"/>
                  </a:cubicBezTo>
                  <a:cubicBezTo>
                    <a:pt x="1409" y="466"/>
                    <a:pt x="1432" y="463"/>
                    <a:pt x="1455" y="463"/>
                  </a:cubicBezTo>
                  <a:cubicBezTo>
                    <a:pt x="1479" y="464"/>
                    <a:pt x="1503" y="472"/>
                    <a:pt x="1523" y="484"/>
                  </a:cubicBezTo>
                  <a:cubicBezTo>
                    <a:pt x="1543" y="497"/>
                    <a:pt x="1559" y="515"/>
                    <a:pt x="1570" y="535"/>
                  </a:cubicBezTo>
                  <a:cubicBezTo>
                    <a:pt x="1581" y="555"/>
                    <a:pt x="1586" y="578"/>
                    <a:pt x="1586" y="601"/>
                  </a:cubicBezTo>
                  <a:cubicBezTo>
                    <a:pt x="1585" y="635"/>
                    <a:pt x="1585" y="667"/>
                    <a:pt x="1584" y="697"/>
                  </a:cubicBezTo>
                  <a:cubicBezTo>
                    <a:pt x="1584" y="712"/>
                    <a:pt x="1584" y="726"/>
                    <a:pt x="1584" y="740"/>
                  </a:cubicBezTo>
                  <a:cubicBezTo>
                    <a:pt x="1584" y="743"/>
                    <a:pt x="1584" y="747"/>
                    <a:pt x="1583" y="750"/>
                  </a:cubicBezTo>
                  <a:cubicBezTo>
                    <a:pt x="1583" y="753"/>
                    <a:pt x="1584" y="755"/>
                    <a:pt x="1584" y="758"/>
                  </a:cubicBezTo>
                  <a:cubicBezTo>
                    <a:pt x="1584" y="764"/>
                    <a:pt x="1586" y="769"/>
                    <a:pt x="1587" y="774"/>
                  </a:cubicBezTo>
                  <a:cubicBezTo>
                    <a:pt x="1591" y="787"/>
                    <a:pt x="1598" y="799"/>
                    <a:pt x="1606" y="809"/>
                  </a:cubicBezTo>
                  <a:cubicBezTo>
                    <a:pt x="1615" y="819"/>
                    <a:pt x="1624" y="828"/>
                    <a:pt x="1634" y="835"/>
                  </a:cubicBezTo>
                  <a:cubicBezTo>
                    <a:pt x="1639" y="839"/>
                    <a:pt x="1641" y="842"/>
                    <a:pt x="1642" y="843"/>
                  </a:cubicBezTo>
                  <a:cubicBezTo>
                    <a:pt x="1643" y="844"/>
                    <a:pt x="1641" y="845"/>
                    <a:pt x="1637" y="843"/>
                  </a:cubicBezTo>
                  <a:close/>
                  <a:moveTo>
                    <a:pt x="262" y="863"/>
                  </a:moveTo>
                  <a:cubicBezTo>
                    <a:pt x="261" y="867"/>
                    <a:pt x="257" y="871"/>
                    <a:pt x="253" y="872"/>
                  </a:cubicBezTo>
                  <a:cubicBezTo>
                    <a:pt x="245" y="876"/>
                    <a:pt x="235" y="876"/>
                    <a:pt x="225" y="877"/>
                  </a:cubicBezTo>
                  <a:cubicBezTo>
                    <a:pt x="216" y="878"/>
                    <a:pt x="207" y="878"/>
                    <a:pt x="197" y="878"/>
                  </a:cubicBezTo>
                  <a:cubicBezTo>
                    <a:pt x="192" y="879"/>
                    <a:pt x="188" y="879"/>
                    <a:pt x="183" y="879"/>
                  </a:cubicBezTo>
                  <a:cubicBezTo>
                    <a:pt x="178" y="879"/>
                    <a:pt x="173" y="879"/>
                    <a:pt x="168" y="878"/>
                  </a:cubicBezTo>
                  <a:cubicBezTo>
                    <a:pt x="148" y="877"/>
                    <a:pt x="127" y="872"/>
                    <a:pt x="107" y="862"/>
                  </a:cubicBezTo>
                  <a:cubicBezTo>
                    <a:pt x="88" y="853"/>
                    <a:pt x="69" y="840"/>
                    <a:pt x="53" y="822"/>
                  </a:cubicBezTo>
                  <a:cubicBezTo>
                    <a:pt x="45" y="813"/>
                    <a:pt x="38" y="803"/>
                    <a:pt x="33" y="792"/>
                  </a:cubicBezTo>
                  <a:cubicBezTo>
                    <a:pt x="28" y="781"/>
                    <a:pt x="24" y="769"/>
                    <a:pt x="23" y="756"/>
                  </a:cubicBezTo>
                  <a:cubicBezTo>
                    <a:pt x="23" y="753"/>
                    <a:pt x="23" y="750"/>
                    <a:pt x="23" y="747"/>
                  </a:cubicBezTo>
                  <a:cubicBezTo>
                    <a:pt x="23" y="744"/>
                    <a:pt x="23" y="741"/>
                    <a:pt x="23" y="738"/>
                  </a:cubicBezTo>
                  <a:cubicBezTo>
                    <a:pt x="23" y="732"/>
                    <a:pt x="23" y="726"/>
                    <a:pt x="22" y="720"/>
                  </a:cubicBezTo>
                  <a:cubicBezTo>
                    <a:pt x="22" y="708"/>
                    <a:pt x="22" y="696"/>
                    <a:pt x="22" y="684"/>
                  </a:cubicBezTo>
                  <a:cubicBezTo>
                    <a:pt x="22" y="585"/>
                    <a:pt x="21" y="480"/>
                    <a:pt x="21" y="372"/>
                  </a:cubicBezTo>
                  <a:cubicBezTo>
                    <a:pt x="21" y="319"/>
                    <a:pt x="21" y="265"/>
                    <a:pt x="21" y="211"/>
                  </a:cubicBezTo>
                  <a:cubicBezTo>
                    <a:pt x="22" y="156"/>
                    <a:pt x="22" y="65"/>
                    <a:pt x="22" y="48"/>
                  </a:cubicBezTo>
                  <a:cubicBezTo>
                    <a:pt x="22" y="30"/>
                    <a:pt x="34" y="18"/>
                    <a:pt x="52" y="18"/>
                  </a:cubicBezTo>
                  <a:cubicBezTo>
                    <a:pt x="70" y="18"/>
                    <a:pt x="121" y="19"/>
                    <a:pt x="155" y="19"/>
                  </a:cubicBezTo>
                  <a:cubicBezTo>
                    <a:pt x="167" y="19"/>
                    <a:pt x="180" y="19"/>
                    <a:pt x="192" y="19"/>
                  </a:cubicBezTo>
                  <a:cubicBezTo>
                    <a:pt x="198" y="19"/>
                    <a:pt x="204" y="19"/>
                    <a:pt x="210" y="19"/>
                  </a:cubicBezTo>
                  <a:cubicBezTo>
                    <a:pt x="217" y="19"/>
                    <a:pt x="223" y="19"/>
                    <a:pt x="229" y="20"/>
                  </a:cubicBezTo>
                  <a:cubicBezTo>
                    <a:pt x="254" y="22"/>
                    <a:pt x="277" y="29"/>
                    <a:pt x="298" y="38"/>
                  </a:cubicBezTo>
                  <a:cubicBezTo>
                    <a:pt x="319" y="47"/>
                    <a:pt x="338" y="59"/>
                    <a:pt x="354" y="72"/>
                  </a:cubicBezTo>
                  <a:cubicBezTo>
                    <a:pt x="358" y="76"/>
                    <a:pt x="362" y="79"/>
                    <a:pt x="365" y="83"/>
                  </a:cubicBezTo>
                  <a:cubicBezTo>
                    <a:pt x="369" y="86"/>
                    <a:pt x="373" y="90"/>
                    <a:pt x="376" y="93"/>
                  </a:cubicBezTo>
                  <a:cubicBezTo>
                    <a:pt x="383" y="100"/>
                    <a:pt x="390" y="106"/>
                    <a:pt x="397" y="113"/>
                  </a:cubicBezTo>
                  <a:cubicBezTo>
                    <a:pt x="450" y="164"/>
                    <a:pt x="491" y="204"/>
                    <a:pt x="515" y="229"/>
                  </a:cubicBezTo>
                  <a:cubicBezTo>
                    <a:pt x="523" y="236"/>
                    <a:pt x="528" y="242"/>
                    <a:pt x="531" y="246"/>
                  </a:cubicBezTo>
                  <a:cubicBezTo>
                    <a:pt x="538" y="254"/>
                    <a:pt x="537" y="254"/>
                    <a:pt x="528" y="247"/>
                  </a:cubicBezTo>
                  <a:cubicBezTo>
                    <a:pt x="523" y="243"/>
                    <a:pt x="517" y="238"/>
                    <a:pt x="508" y="231"/>
                  </a:cubicBezTo>
                  <a:cubicBezTo>
                    <a:pt x="499" y="224"/>
                    <a:pt x="450" y="180"/>
                    <a:pt x="385" y="120"/>
                  </a:cubicBezTo>
                  <a:cubicBezTo>
                    <a:pt x="375" y="110"/>
                    <a:pt x="364" y="100"/>
                    <a:pt x="353" y="90"/>
                  </a:cubicBezTo>
                  <a:cubicBezTo>
                    <a:pt x="342" y="80"/>
                    <a:pt x="331" y="72"/>
                    <a:pt x="318" y="64"/>
                  </a:cubicBezTo>
                  <a:cubicBezTo>
                    <a:pt x="294" y="50"/>
                    <a:pt x="266" y="40"/>
                    <a:pt x="237" y="36"/>
                  </a:cubicBezTo>
                  <a:cubicBezTo>
                    <a:pt x="230" y="35"/>
                    <a:pt x="222" y="35"/>
                    <a:pt x="215" y="34"/>
                  </a:cubicBezTo>
                  <a:cubicBezTo>
                    <a:pt x="208" y="34"/>
                    <a:pt x="200" y="34"/>
                    <a:pt x="192" y="34"/>
                  </a:cubicBezTo>
                  <a:cubicBezTo>
                    <a:pt x="177" y="34"/>
                    <a:pt x="162" y="34"/>
                    <a:pt x="147" y="34"/>
                  </a:cubicBezTo>
                  <a:cubicBezTo>
                    <a:pt x="122" y="35"/>
                    <a:pt x="61" y="34"/>
                    <a:pt x="58" y="34"/>
                  </a:cubicBezTo>
                  <a:cubicBezTo>
                    <a:pt x="41" y="35"/>
                    <a:pt x="39" y="41"/>
                    <a:pt x="39" y="54"/>
                  </a:cubicBezTo>
                  <a:cubicBezTo>
                    <a:pt x="39" y="67"/>
                    <a:pt x="39" y="176"/>
                    <a:pt x="39" y="236"/>
                  </a:cubicBezTo>
                  <a:cubicBezTo>
                    <a:pt x="40" y="297"/>
                    <a:pt x="40" y="357"/>
                    <a:pt x="40" y="417"/>
                  </a:cubicBezTo>
                  <a:cubicBezTo>
                    <a:pt x="41" y="490"/>
                    <a:pt x="41" y="570"/>
                    <a:pt x="41" y="648"/>
                  </a:cubicBezTo>
                  <a:cubicBezTo>
                    <a:pt x="41" y="667"/>
                    <a:pt x="41" y="686"/>
                    <a:pt x="40" y="705"/>
                  </a:cubicBezTo>
                  <a:cubicBezTo>
                    <a:pt x="40" y="715"/>
                    <a:pt x="40" y="724"/>
                    <a:pt x="40" y="734"/>
                  </a:cubicBezTo>
                  <a:cubicBezTo>
                    <a:pt x="40" y="738"/>
                    <a:pt x="40" y="743"/>
                    <a:pt x="40" y="748"/>
                  </a:cubicBezTo>
                  <a:cubicBezTo>
                    <a:pt x="40" y="752"/>
                    <a:pt x="40" y="756"/>
                    <a:pt x="41" y="760"/>
                  </a:cubicBezTo>
                  <a:cubicBezTo>
                    <a:pt x="43" y="776"/>
                    <a:pt x="50" y="791"/>
                    <a:pt x="59" y="804"/>
                  </a:cubicBezTo>
                  <a:cubicBezTo>
                    <a:pt x="69" y="817"/>
                    <a:pt x="80" y="827"/>
                    <a:pt x="93" y="836"/>
                  </a:cubicBezTo>
                  <a:cubicBezTo>
                    <a:pt x="106" y="846"/>
                    <a:pt x="122" y="853"/>
                    <a:pt x="138" y="859"/>
                  </a:cubicBezTo>
                  <a:cubicBezTo>
                    <a:pt x="146" y="861"/>
                    <a:pt x="154" y="863"/>
                    <a:pt x="162" y="864"/>
                  </a:cubicBezTo>
                  <a:cubicBezTo>
                    <a:pt x="167" y="865"/>
                    <a:pt x="171" y="865"/>
                    <a:pt x="175" y="865"/>
                  </a:cubicBezTo>
                  <a:cubicBezTo>
                    <a:pt x="179" y="865"/>
                    <a:pt x="184" y="865"/>
                    <a:pt x="188" y="865"/>
                  </a:cubicBezTo>
                  <a:cubicBezTo>
                    <a:pt x="205" y="865"/>
                    <a:pt x="225" y="865"/>
                    <a:pt x="237" y="864"/>
                  </a:cubicBezTo>
                  <a:cubicBezTo>
                    <a:pt x="239" y="863"/>
                    <a:pt x="241" y="863"/>
                    <a:pt x="243" y="863"/>
                  </a:cubicBezTo>
                  <a:cubicBezTo>
                    <a:pt x="244" y="862"/>
                    <a:pt x="246" y="862"/>
                    <a:pt x="248" y="861"/>
                  </a:cubicBezTo>
                  <a:cubicBezTo>
                    <a:pt x="251" y="859"/>
                    <a:pt x="252" y="855"/>
                    <a:pt x="253" y="852"/>
                  </a:cubicBezTo>
                  <a:cubicBezTo>
                    <a:pt x="253" y="848"/>
                    <a:pt x="253" y="845"/>
                    <a:pt x="253" y="841"/>
                  </a:cubicBezTo>
                  <a:cubicBezTo>
                    <a:pt x="253" y="830"/>
                    <a:pt x="253" y="830"/>
                    <a:pt x="253" y="830"/>
                  </a:cubicBezTo>
                  <a:cubicBezTo>
                    <a:pt x="253" y="799"/>
                    <a:pt x="254" y="772"/>
                    <a:pt x="254" y="748"/>
                  </a:cubicBezTo>
                  <a:cubicBezTo>
                    <a:pt x="255" y="734"/>
                    <a:pt x="255" y="720"/>
                    <a:pt x="256" y="708"/>
                  </a:cubicBezTo>
                  <a:cubicBezTo>
                    <a:pt x="257" y="695"/>
                    <a:pt x="259" y="704"/>
                    <a:pt x="261" y="731"/>
                  </a:cubicBezTo>
                  <a:cubicBezTo>
                    <a:pt x="261" y="740"/>
                    <a:pt x="262" y="752"/>
                    <a:pt x="262" y="765"/>
                  </a:cubicBezTo>
                  <a:cubicBezTo>
                    <a:pt x="263" y="777"/>
                    <a:pt x="263" y="790"/>
                    <a:pt x="263" y="804"/>
                  </a:cubicBezTo>
                  <a:cubicBezTo>
                    <a:pt x="263" y="811"/>
                    <a:pt x="264" y="818"/>
                    <a:pt x="264" y="826"/>
                  </a:cubicBezTo>
                  <a:cubicBezTo>
                    <a:pt x="264" y="833"/>
                    <a:pt x="264" y="841"/>
                    <a:pt x="264" y="850"/>
                  </a:cubicBezTo>
                  <a:cubicBezTo>
                    <a:pt x="264" y="854"/>
                    <a:pt x="264" y="859"/>
                    <a:pt x="262" y="863"/>
                  </a:cubicBezTo>
                  <a:close/>
                  <a:moveTo>
                    <a:pt x="694" y="671"/>
                  </a:moveTo>
                  <a:cubicBezTo>
                    <a:pt x="688" y="665"/>
                    <a:pt x="682" y="659"/>
                    <a:pt x="675" y="653"/>
                  </a:cubicBezTo>
                  <a:cubicBezTo>
                    <a:pt x="668" y="646"/>
                    <a:pt x="660" y="640"/>
                    <a:pt x="653" y="633"/>
                  </a:cubicBezTo>
                  <a:cubicBezTo>
                    <a:pt x="637" y="618"/>
                    <a:pt x="621" y="602"/>
                    <a:pt x="604" y="586"/>
                  </a:cubicBezTo>
                  <a:cubicBezTo>
                    <a:pt x="584" y="567"/>
                    <a:pt x="563" y="548"/>
                    <a:pt x="540" y="531"/>
                  </a:cubicBezTo>
                  <a:cubicBezTo>
                    <a:pt x="518" y="515"/>
                    <a:pt x="494" y="499"/>
                    <a:pt x="467" y="488"/>
                  </a:cubicBezTo>
                  <a:cubicBezTo>
                    <a:pt x="441" y="477"/>
                    <a:pt x="411" y="469"/>
                    <a:pt x="381" y="469"/>
                  </a:cubicBezTo>
                  <a:cubicBezTo>
                    <a:pt x="374" y="469"/>
                    <a:pt x="366" y="469"/>
                    <a:pt x="358" y="470"/>
                  </a:cubicBezTo>
                  <a:cubicBezTo>
                    <a:pt x="350" y="471"/>
                    <a:pt x="343" y="473"/>
                    <a:pt x="335" y="476"/>
                  </a:cubicBezTo>
                  <a:cubicBezTo>
                    <a:pt x="321" y="480"/>
                    <a:pt x="307" y="488"/>
                    <a:pt x="296" y="497"/>
                  </a:cubicBezTo>
                  <a:cubicBezTo>
                    <a:pt x="273" y="515"/>
                    <a:pt x="256" y="542"/>
                    <a:pt x="249" y="572"/>
                  </a:cubicBezTo>
                  <a:cubicBezTo>
                    <a:pt x="247" y="580"/>
                    <a:pt x="246" y="588"/>
                    <a:pt x="246" y="595"/>
                  </a:cubicBezTo>
                  <a:cubicBezTo>
                    <a:pt x="246" y="597"/>
                    <a:pt x="246" y="599"/>
                    <a:pt x="246" y="601"/>
                  </a:cubicBezTo>
                  <a:cubicBezTo>
                    <a:pt x="246" y="606"/>
                    <a:pt x="246" y="606"/>
                    <a:pt x="246" y="606"/>
                  </a:cubicBezTo>
                  <a:cubicBezTo>
                    <a:pt x="246" y="610"/>
                    <a:pt x="246" y="613"/>
                    <a:pt x="246" y="617"/>
                  </a:cubicBezTo>
                  <a:cubicBezTo>
                    <a:pt x="246" y="631"/>
                    <a:pt x="246" y="645"/>
                    <a:pt x="245" y="660"/>
                  </a:cubicBezTo>
                  <a:cubicBezTo>
                    <a:pt x="245" y="717"/>
                    <a:pt x="245" y="776"/>
                    <a:pt x="244" y="836"/>
                  </a:cubicBezTo>
                  <a:cubicBezTo>
                    <a:pt x="244" y="843"/>
                    <a:pt x="244" y="843"/>
                    <a:pt x="244" y="843"/>
                  </a:cubicBezTo>
                  <a:cubicBezTo>
                    <a:pt x="244" y="845"/>
                    <a:pt x="244" y="847"/>
                    <a:pt x="243" y="849"/>
                  </a:cubicBezTo>
                  <a:cubicBezTo>
                    <a:pt x="243" y="851"/>
                    <a:pt x="241" y="853"/>
                    <a:pt x="239" y="854"/>
                  </a:cubicBezTo>
                  <a:cubicBezTo>
                    <a:pt x="237" y="855"/>
                    <a:pt x="235" y="855"/>
                    <a:pt x="233" y="855"/>
                  </a:cubicBezTo>
                  <a:cubicBezTo>
                    <a:pt x="231" y="856"/>
                    <a:pt x="228" y="856"/>
                    <a:pt x="226" y="856"/>
                  </a:cubicBezTo>
                  <a:cubicBezTo>
                    <a:pt x="223" y="856"/>
                    <a:pt x="223" y="856"/>
                    <a:pt x="223" y="856"/>
                  </a:cubicBezTo>
                  <a:cubicBezTo>
                    <a:pt x="217" y="856"/>
                    <a:pt x="217" y="856"/>
                    <a:pt x="217" y="856"/>
                  </a:cubicBezTo>
                  <a:cubicBezTo>
                    <a:pt x="210" y="857"/>
                    <a:pt x="203" y="857"/>
                    <a:pt x="195" y="857"/>
                  </a:cubicBezTo>
                  <a:cubicBezTo>
                    <a:pt x="184" y="857"/>
                    <a:pt x="184" y="857"/>
                    <a:pt x="184" y="857"/>
                  </a:cubicBezTo>
                  <a:cubicBezTo>
                    <a:pt x="178" y="857"/>
                    <a:pt x="178" y="857"/>
                    <a:pt x="178" y="857"/>
                  </a:cubicBezTo>
                  <a:cubicBezTo>
                    <a:pt x="176" y="857"/>
                    <a:pt x="175" y="857"/>
                    <a:pt x="173" y="857"/>
                  </a:cubicBezTo>
                  <a:cubicBezTo>
                    <a:pt x="166" y="856"/>
                    <a:pt x="160" y="856"/>
                    <a:pt x="153" y="854"/>
                  </a:cubicBezTo>
                  <a:cubicBezTo>
                    <a:pt x="140" y="851"/>
                    <a:pt x="126" y="847"/>
                    <a:pt x="114" y="840"/>
                  </a:cubicBezTo>
                  <a:cubicBezTo>
                    <a:pt x="90" y="828"/>
                    <a:pt x="68" y="809"/>
                    <a:pt x="56" y="786"/>
                  </a:cubicBezTo>
                  <a:cubicBezTo>
                    <a:pt x="50" y="775"/>
                    <a:pt x="46" y="763"/>
                    <a:pt x="46" y="750"/>
                  </a:cubicBezTo>
                  <a:cubicBezTo>
                    <a:pt x="46" y="736"/>
                    <a:pt x="46" y="721"/>
                    <a:pt x="46" y="706"/>
                  </a:cubicBezTo>
                  <a:cubicBezTo>
                    <a:pt x="45" y="601"/>
                    <a:pt x="45" y="492"/>
                    <a:pt x="44" y="382"/>
                  </a:cubicBezTo>
                  <a:cubicBezTo>
                    <a:pt x="44" y="274"/>
                    <a:pt x="43" y="75"/>
                    <a:pt x="43" y="56"/>
                  </a:cubicBezTo>
                  <a:cubicBezTo>
                    <a:pt x="43" y="50"/>
                    <a:pt x="45" y="45"/>
                    <a:pt x="47" y="43"/>
                  </a:cubicBezTo>
                  <a:cubicBezTo>
                    <a:pt x="50" y="40"/>
                    <a:pt x="57" y="39"/>
                    <a:pt x="60" y="39"/>
                  </a:cubicBezTo>
                  <a:cubicBezTo>
                    <a:pt x="66" y="39"/>
                    <a:pt x="144" y="39"/>
                    <a:pt x="186" y="39"/>
                  </a:cubicBezTo>
                  <a:cubicBezTo>
                    <a:pt x="202" y="39"/>
                    <a:pt x="202" y="39"/>
                    <a:pt x="202" y="39"/>
                  </a:cubicBezTo>
                  <a:cubicBezTo>
                    <a:pt x="207" y="39"/>
                    <a:pt x="213" y="39"/>
                    <a:pt x="218" y="39"/>
                  </a:cubicBezTo>
                  <a:cubicBezTo>
                    <a:pt x="228" y="39"/>
                    <a:pt x="238" y="41"/>
                    <a:pt x="248" y="42"/>
                  </a:cubicBezTo>
                  <a:cubicBezTo>
                    <a:pt x="268" y="46"/>
                    <a:pt x="287" y="53"/>
                    <a:pt x="305" y="62"/>
                  </a:cubicBezTo>
                  <a:cubicBezTo>
                    <a:pt x="323" y="71"/>
                    <a:pt x="340" y="83"/>
                    <a:pt x="354" y="97"/>
                  </a:cubicBezTo>
                  <a:cubicBezTo>
                    <a:pt x="370" y="111"/>
                    <a:pt x="385" y="126"/>
                    <a:pt x="400" y="140"/>
                  </a:cubicBezTo>
                  <a:cubicBezTo>
                    <a:pt x="431" y="168"/>
                    <a:pt x="461" y="196"/>
                    <a:pt x="490" y="224"/>
                  </a:cubicBezTo>
                  <a:cubicBezTo>
                    <a:pt x="503" y="235"/>
                    <a:pt x="515" y="247"/>
                    <a:pt x="527" y="257"/>
                  </a:cubicBezTo>
                  <a:cubicBezTo>
                    <a:pt x="532" y="263"/>
                    <a:pt x="538" y="268"/>
                    <a:pt x="544" y="273"/>
                  </a:cubicBezTo>
                  <a:cubicBezTo>
                    <a:pt x="545" y="274"/>
                    <a:pt x="547" y="276"/>
                    <a:pt x="548" y="277"/>
                  </a:cubicBezTo>
                  <a:cubicBezTo>
                    <a:pt x="550" y="279"/>
                    <a:pt x="550" y="279"/>
                    <a:pt x="550" y="279"/>
                  </a:cubicBezTo>
                  <a:cubicBezTo>
                    <a:pt x="552" y="280"/>
                    <a:pt x="552" y="280"/>
                    <a:pt x="552" y="280"/>
                  </a:cubicBezTo>
                  <a:cubicBezTo>
                    <a:pt x="554" y="283"/>
                    <a:pt x="557" y="286"/>
                    <a:pt x="560" y="288"/>
                  </a:cubicBezTo>
                  <a:cubicBezTo>
                    <a:pt x="581" y="308"/>
                    <a:pt x="603" y="324"/>
                    <a:pt x="621" y="336"/>
                  </a:cubicBezTo>
                  <a:cubicBezTo>
                    <a:pt x="640" y="348"/>
                    <a:pt x="656" y="357"/>
                    <a:pt x="669" y="363"/>
                  </a:cubicBezTo>
                  <a:cubicBezTo>
                    <a:pt x="681" y="369"/>
                    <a:pt x="690" y="372"/>
                    <a:pt x="694" y="374"/>
                  </a:cubicBezTo>
                  <a:cubicBezTo>
                    <a:pt x="710" y="380"/>
                    <a:pt x="722" y="384"/>
                    <a:pt x="731" y="386"/>
                  </a:cubicBezTo>
                  <a:cubicBezTo>
                    <a:pt x="739" y="388"/>
                    <a:pt x="744" y="389"/>
                    <a:pt x="745" y="388"/>
                  </a:cubicBezTo>
                  <a:cubicBezTo>
                    <a:pt x="745" y="388"/>
                    <a:pt x="742" y="386"/>
                    <a:pt x="735" y="383"/>
                  </a:cubicBezTo>
                  <a:cubicBezTo>
                    <a:pt x="728" y="379"/>
                    <a:pt x="719" y="375"/>
                    <a:pt x="703" y="367"/>
                  </a:cubicBezTo>
                  <a:cubicBezTo>
                    <a:pt x="683" y="357"/>
                    <a:pt x="653" y="341"/>
                    <a:pt x="620" y="316"/>
                  </a:cubicBezTo>
                  <a:cubicBezTo>
                    <a:pt x="604" y="304"/>
                    <a:pt x="586" y="289"/>
                    <a:pt x="569" y="272"/>
                  </a:cubicBezTo>
                  <a:cubicBezTo>
                    <a:pt x="567" y="270"/>
                    <a:pt x="564" y="267"/>
                    <a:pt x="562" y="265"/>
                  </a:cubicBezTo>
                  <a:cubicBezTo>
                    <a:pt x="560" y="263"/>
                    <a:pt x="557" y="261"/>
                    <a:pt x="555" y="258"/>
                  </a:cubicBezTo>
                  <a:cubicBezTo>
                    <a:pt x="550" y="254"/>
                    <a:pt x="546" y="249"/>
                    <a:pt x="541" y="245"/>
                  </a:cubicBezTo>
                  <a:cubicBezTo>
                    <a:pt x="531" y="235"/>
                    <a:pt x="521" y="226"/>
                    <a:pt x="511" y="216"/>
                  </a:cubicBezTo>
                  <a:cubicBezTo>
                    <a:pt x="469" y="176"/>
                    <a:pt x="423" y="131"/>
                    <a:pt x="372" y="83"/>
                  </a:cubicBezTo>
                  <a:cubicBezTo>
                    <a:pt x="366" y="77"/>
                    <a:pt x="359" y="70"/>
                    <a:pt x="352" y="64"/>
                  </a:cubicBezTo>
                  <a:cubicBezTo>
                    <a:pt x="344" y="59"/>
                    <a:pt x="336" y="53"/>
                    <a:pt x="328" y="48"/>
                  </a:cubicBezTo>
                  <a:cubicBezTo>
                    <a:pt x="312" y="38"/>
                    <a:pt x="294" y="30"/>
                    <a:pt x="275" y="25"/>
                  </a:cubicBezTo>
                  <a:cubicBezTo>
                    <a:pt x="257" y="19"/>
                    <a:pt x="237" y="15"/>
                    <a:pt x="216" y="15"/>
                  </a:cubicBezTo>
                  <a:cubicBezTo>
                    <a:pt x="212" y="14"/>
                    <a:pt x="212" y="14"/>
                    <a:pt x="212" y="14"/>
                  </a:cubicBezTo>
                  <a:cubicBezTo>
                    <a:pt x="209" y="14"/>
                    <a:pt x="209" y="14"/>
                    <a:pt x="209" y="14"/>
                  </a:cubicBezTo>
                  <a:cubicBezTo>
                    <a:pt x="202" y="14"/>
                    <a:pt x="202" y="14"/>
                    <a:pt x="202" y="14"/>
                  </a:cubicBezTo>
                  <a:cubicBezTo>
                    <a:pt x="197" y="14"/>
                    <a:pt x="192" y="14"/>
                    <a:pt x="187" y="14"/>
                  </a:cubicBezTo>
                  <a:cubicBezTo>
                    <a:pt x="177" y="14"/>
                    <a:pt x="167" y="14"/>
                    <a:pt x="157" y="14"/>
                  </a:cubicBezTo>
                  <a:cubicBezTo>
                    <a:pt x="122" y="14"/>
                    <a:pt x="80" y="13"/>
                    <a:pt x="50" y="13"/>
                  </a:cubicBezTo>
                  <a:cubicBezTo>
                    <a:pt x="32" y="13"/>
                    <a:pt x="17" y="23"/>
                    <a:pt x="17" y="46"/>
                  </a:cubicBezTo>
                  <a:cubicBezTo>
                    <a:pt x="17" y="59"/>
                    <a:pt x="17" y="87"/>
                    <a:pt x="17" y="108"/>
                  </a:cubicBezTo>
                  <a:cubicBezTo>
                    <a:pt x="16" y="278"/>
                    <a:pt x="16" y="456"/>
                    <a:pt x="16" y="632"/>
                  </a:cubicBezTo>
                  <a:cubicBezTo>
                    <a:pt x="16" y="653"/>
                    <a:pt x="16" y="675"/>
                    <a:pt x="16" y="697"/>
                  </a:cubicBezTo>
                  <a:cubicBezTo>
                    <a:pt x="16" y="708"/>
                    <a:pt x="16" y="719"/>
                    <a:pt x="16" y="730"/>
                  </a:cubicBezTo>
                  <a:cubicBezTo>
                    <a:pt x="16" y="746"/>
                    <a:pt x="16" y="746"/>
                    <a:pt x="16" y="746"/>
                  </a:cubicBezTo>
                  <a:cubicBezTo>
                    <a:pt x="16" y="750"/>
                    <a:pt x="16" y="750"/>
                    <a:pt x="16" y="750"/>
                  </a:cubicBezTo>
                  <a:cubicBezTo>
                    <a:pt x="16" y="752"/>
                    <a:pt x="16" y="753"/>
                    <a:pt x="16" y="755"/>
                  </a:cubicBezTo>
                  <a:cubicBezTo>
                    <a:pt x="16" y="758"/>
                    <a:pt x="17" y="761"/>
                    <a:pt x="17" y="764"/>
                  </a:cubicBezTo>
                  <a:cubicBezTo>
                    <a:pt x="19" y="776"/>
                    <a:pt x="23" y="788"/>
                    <a:pt x="28" y="799"/>
                  </a:cubicBezTo>
                  <a:cubicBezTo>
                    <a:pt x="34" y="810"/>
                    <a:pt x="41" y="820"/>
                    <a:pt x="49" y="828"/>
                  </a:cubicBezTo>
                  <a:cubicBezTo>
                    <a:pt x="65" y="846"/>
                    <a:pt x="84" y="859"/>
                    <a:pt x="104" y="869"/>
                  </a:cubicBezTo>
                  <a:cubicBezTo>
                    <a:pt x="125" y="879"/>
                    <a:pt x="147" y="886"/>
                    <a:pt x="170" y="887"/>
                  </a:cubicBezTo>
                  <a:cubicBezTo>
                    <a:pt x="173" y="887"/>
                    <a:pt x="176" y="887"/>
                    <a:pt x="179" y="887"/>
                  </a:cubicBezTo>
                  <a:cubicBezTo>
                    <a:pt x="187" y="887"/>
                    <a:pt x="187" y="887"/>
                    <a:pt x="187" y="887"/>
                  </a:cubicBezTo>
                  <a:cubicBezTo>
                    <a:pt x="192" y="887"/>
                    <a:pt x="197" y="887"/>
                    <a:pt x="202" y="887"/>
                  </a:cubicBezTo>
                  <a:cubicBezTo>
                    <a:pt x="208" y="887"/>
                    <a:pt x="213" y="887"/>
                    <a:pt x="218" y="886"/>
                  </a:cubicBezTo>
                  <a:cubicBezTo>
                    <a:pt x="227" y="886"/>
                    <a:pt x="227" y="886"/>
                    <a:pt x="227" y="886"/>
                  </a:cubicBezTo>
                  <a:cubicBezTo>
                    <a:pt x="230" y="886"/>
                    <a:pt x="234" y="885"/>
                    <a:pt x="237" y="885"/>
                  </a:cubicBezTo>
                  <a:cubicBezTo>
                    <a:pt x="244" y="884"/>
                    <a:pt x="251" y="883"/>
                    <a:pt x="257" y="881"/>
                  </a:cubicBezTo>
                  <a:cubicBezTo>
                    <a:pt x="263" y="879"/>
                    <a:pt x="268" y="874"/>
                    <a:pt x="270" y="868"/>
                  </a:cubicBezTo>
                  <a:cubicBezTo>
                    <a:pt x="273" y="862"/>
                    <a:pt x="274" y="856"/>
                    <a:pt x="274" y="849"/>
                  </a:cubicBezTo>
                  <a:cubicBezTo>
                    <a:pt x="274" y="839"/>
                    <a:pt x="274" y="839"/>
                    <a:pt x="274" y="839"/>
                  </a:cubicBezTo>
                  <a:cubicBezTo>
                    <a:pt x="274" y="834"/>
                    <a:pt x="274" y="834"/>
                    <a:pt x="274" y="834"/>
                  </a:cubicBezTo>
                  <a:cubicBezTo>
                    <a:pt x="274" y="830"/>
                    <a:pt x="274" y="830"/>
                    <a:pt x="274" y="830"/>
                  </a:cubicBezTo>
                  <a:cubicBezTo>
                    <a:pt x="274" y="810"/>
                    <a:pt x="273" y="789"/>
                    <a:pt x="273" y="770"/>
                  </a:cubicBezTo>
                  <a:cubicBezTo>
                    <a:pt x="273" y="730"/>
                    <a:pt x="273" y="691"/>
                    <a:pt x="273" y="653"/>
                  </a:cubicBezTo>
                  <a:cubicBezTo>
                    <a:pt x="272" y="635"/>
                    <a:pt x="272" y="616"/>
                    <a:pt x="272" y="598"/>
                  </a:cubicBezTo>
                  <a:cubicBezTo>
                    <a:pt x="272" y="581"/>
                    <a:pt x="277" y="565"/>
                    <a:pt x="284" y="550"/>
                  </a:cubicBezTo>
                  <a:cubicBezTo>
                    <a:pt x="291" y="536"/>
                    <a:pt x="302" y="523"/>
                    <a:pt x="314" y="514"/>
                  </a:cubicBezTo>
                  <a:cubicBezTo>
                    <a:pt x="327" y="504"/>
                    <a:pt x="341" y="497"/>
                    <a:pt x="355" y="494"/>
                  </a:cubicBezTo>
                  <a:cubicBezTo>
                    <a:pt x="363" y="492"/>
                    <a:pt x="370" y="492"/>
                    <a:pt x="378" y="491"/>
                  </a:cubicBezTo>
                  <a:cubicBezTo>
                    <a:pt x="385" y="491"/>
                    <a:pt x="393" y="492"/>
                    <a:pt x="401" y="492"/>
                  </a:cubicBezTo>
                  <a:cubicBezTo>
                    <a:pt x="416" y="494"/>
                    <a:pt x="430" y="497"/>
                    <a:pt x="444" y="502"/>
                  </a:cubicBezTo>
                  <a:cubicBezTo>
                    <a:pt x="472" y="511"/>
                    <a:pt x="497" y="525"/>
                    <a:pt x="519" y="539"/>
                  </a:cubicBezTo>
                  <a:cubicBezTo>
                    <a:pt x="541" y="554"/>
                    <a:pt x="560" y="570"/>
                    <a:pt x="578" y="585"/>
                  </a:cubicBezTo>
                  <a:cubicBezTo>
                    <a:pt x="596" y="601"/>
                    <a:pt x="612" y="615"/>
                    <a:pt x="627" y="628"/>
                  </a:cubicBezTo>
                  <a:cubicBezTo>
                    <a:pt x="641" y="642"/>
                    <a:pt x="655" y="653"/>
                    <a:pt x="667" y="663"/>
                  </a:cubicBezTo>
                  <a:cubicBezTo>
                    <a:pt x="685" y="678"/>
                    <a:pt x="696" y="687"/>
                    <a:pt x="707" y="696"/>
                  </a:cubicBezTo>
                  <a:cubicBezTo>
                    <a:pt x="740" y="722"/>
                    <a:pt x="751" y="728"/>
                    <a:pt x="738" y="714"/>
                  </a:cubicBezTo>
                  <a:cubicBezTo>
                    <a:pt x="725" y="701"/>
                    <a:pt x="712" y="688"/>
                    <a:pt x="694" y="67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69603374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C5F4140-7D3A-404C-A1A1-EF77CAA9BB82}" type="slidenum">
              <a:rPr lang="fr-FR" smtClean="0"/>
              <a:t>‹N°›</a:t>
            </a:fld>
            <a:endParaRPr lang="fr-FR"/>
          </a:p>
        </p:txBody>
      </p:sp>
    </p:spTree>
    <p:extLst>
      <p:ext uri="{BB962C8B-B14F-4D97-AF65-F5344CB8AC3E}">
        <p14:creationId xmlns:p14="http://schemas.microsoft.com/office/powerpoint/2010/main" val="31323117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itle Organic">
    <p:bg>
      <p:bgPr>
        <a:solidFill>
          <a:schemeClr val="accent1"/>
        </a:solidFill>
        <a:effectLst/>
      </p:bgPr>
    </p:bg>
    <p:spTree>
      <p:nvGrpSpPr>
        <p:cNvPr id="1" name=""/>
        <p:cNvGrpSpPr/>
        <p:nvPr/>
      </p:nvGrpSpPr>
      <p:grpSpPr>
        <a:xfrm>
          <a:off x="0" y="0"/>
          <a:ext cx="0" cy="0"/>
          <a:chOff x="0" y="0"/>
          <a:chExt cx="0" cy="0"/>
        </a:xfrm>
      </p:grpSpPr>
      <p:sp>
        <p:nvSpPr>
          <p:cNvPr id="16" name="Freeform 15"/>
          <p:cNvSpPr/>
          <p:nvPr userDrawn="1"/>
        </p:nvSpPr>
        <p:spPr bwMode="gray">
          <a:xfrm>
            <a:off x="0" y="0"/>
            <a:ext cx="12192000" cy="6858000"/>
          </a:xfrm>
          <a:custGeom>
            <a:avLst/>
            <a:gdLst>
              <a:gd name="connsiteX0" fmla="*/ 3028369 w 12192000"/>
              <a:gd name="connsiteY0" fmla="*/ 0 h 6858000"/>
              <a:gd name="connsiteX1" fmla="*/ 6019945 w 12192000"/>
              <a:gd name="connsiteY1" fmla="*/ 0 h 6858000"/>
              <a:gd name="connsiteX2" fmla="*/ 6010517 w 12192000"/>
              <a:gd name="connsiteY2" fmla="*/ 24413 h 6858000"/>
              <a:gd name="connsiteX3" fmla="*/ 5988728 w 12192000"/>
              <a:gd name="connsiteY3" fmla="*/ 542902 h 6858000"/>
              <a:gd name="connsiteX4" fmla="*/ 8283293 w 12192000"/>
              <a:gd name="connsiteY4" fmla="*/ 2994229 h 6858000"/>
              <a:gd name="connsiteX5" fmla="*/ 11934313 w 12192000"/>
              <a:gd name="connsiteY5" fmla="*/ 4275389 h 6858000"/>
              <a:gd name="connsiteX6" fmla="*/ 12139920 w 12192000"/>
              <a:gd name="connsiteY6" fmla="*/ 4248830 h 6858000"/>
              <a:gd name="connsiteX7" fmla="*/ 12192000 w 12192000"/>
              <a:gd name="connsiteY7" fmla="*/ 4238176 h 6858000"/>
              <a:gd name="connsiteX8" fmla="*/ 12192000 w 12192000"/>
              <a:gd name="connsiteY8" fmla="*/ 4877795 h 6858000"/>
              <a:gd name="connsiteX9" fmla="*/ 12173693 w 12192000"/>
              <a:gd name="connsiteY9" fmla="*/ 4890450 h 6858000"/>
              <a:gd name="connsiteX10" fmla="*/ 11823388 w 12192000"/>
              <a:gd name="connsiteY10" fmla="*/ 5651684 h 6858000"/>
              <a:gd name="connsiteX11" fmla="*/ 12181381 w 12192000"/>
              <a:gd name="connsiteY11" fmla="*/ 6745688 h 6858000"/>
              <a:gd name="connsiteX12" fmla="*/ 12192000 w 12192000"/>
              <a:gd name="connsiteY12" fmla="*/ 6767229 h 6858000"/>
              <a:gd name="connsiteX13" fmla="*/ 12192000 w 12192000"/>
              <a:gd name="connsiteY13" fmla="*/ 6858000 h 6858000"/>
              <a:gd name="connsiteX14" fmla="*/ 11748516 w 12192000"/>
              <a:gd name="connsiteY14" fmla="*/ 6858000 h 6858000"/>
              <a:gd name="connsiteX15" fmla="*/ 11744223 w 12192000"/>
              <a:gd name="connsiteY15" fmla="*/ 6845586 h 6858000"/>
              <a:gd name="connsiteX16" fmla="*/ 11424057 w 12192000"/>
              <a:gd name="connsiteY16" fmla="*/ 5987830 h 6858000"/>
              <a:gd name="connsiteX17" fmla="*/ 8644592 w 12192000"/>
              <a:gd name="connsiteY17" fmla="*/ 3856792 h 6858000"/>
              <a:gd name="connsiteX18" fmla="*/ 5459457 w 12192000"/>
              <a:gd name="connsiteY18" fmla="*/ 4687643 h 6858000"/>
              <a:gd name="connsiteX19" fmla="*/ 4527600 w 12192000"/>
              <a:gd name="connsiteY19" fmla="*/ 6636628 h 6858000"/>
              <a:gd name="connsiteX20" fmla="*/ 4523380 w 12192000"/>
              <a:gd name="connsiteY20" fmla="*/ 6858000 h 6858000"/>
              <a:gd name="connsiteX21" fmla="*/ 4101261 w 12192000"/>
              <a:gd name="connsiteY21" fmla="*/ 6858000 h 6858000"/>
              <a:gd name="connsiteX22" fmla="*/ 4129024 w 12192000"/>
              <a:gd name="connsiteY22" fmla="*/ 6686756 h 6858000"/>
              <a:gd name="connsiteX23" fmla="*/ 5583060 w 12192000"/>
              <a:gd name="connsiteY23" fmla="*/ 860020 h 6858000"/>
              <a:gd name="connsiteX24" fmla="*/ 3662471 w 12192000"/>
              <a:gd name="connsiteY24" fmla="*/ 270180 h 6858000"/>
              <a:gd name="connsiteX25" fmla="*/ 198439 w 12192000"/>
              <a:gd name="connsiteY25" fmla="*/ 2486840 h 6858000"/>
              <a:gd name="connsiteX26" fmla="*/ 0 w 12192000"/>
              <a:gd name="connsiteY26" fmla="*/ 2850498 h 6858000"/>
              <a:gd name="connsiteX27" fmla="*/ 0 w 12192000"/>
              <a:gd name="connsiteY27" fmla="*/ 651095 h 6858000"/>
              <a:gd name="connsiteX28" fmla="*/ 13333 w 12192000"/>
              <a:gd name="connsiteY28" fmla="*/ 659740 h 6858000"/>
              <a:gd name="connsiteX29" fmla="*/ 1529540 w 12192000"/>
              <a:gd name="connsiteY29" fmla="*/ 571443 h 6858000"/>
              <a:gd name="connsiteX30" fmla="*/ 2758320 w 12192000"/>
              <a:gd name="connsiteY30" fmla="*/ 1001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92000" h="6858000">
                <a:moveTo>
                  <a:pt x="3028369" y="0"/>
                </a:moveTo>
                <a:lnTo>
                  <a:pt x="6019945" y="0"/>
                </a:lnTo>
                <a:lnTo>
                  <a:pt x="6010517" y="24413"/>
                </a:lnTo>
                <a:cubicBezTo>
                  <a:pt x="5959413" y="184558"/>
                  <a:pt x="5947528" y="357387"/>
                  <a:pt x="5988728" y="542902"/>
                </a:cubicBezTo>
                <a:cubicBezTo>
                  <a:pt x="6483137" y="1684529"/>
                  <a:pt x="7269121" y="2328280"/>
                  <a:pt x="8283293" y="2994229"/>
                </a:cubicBezTo>
                <a:cubicBezTo>
                  <a:pt x="9376697" y="3714089"/>
                  <a:pt x="10672936" y="4269046"/>
                  <a:pt x="11934313" y="4275389"/>
                </a:cubicBezTo>
                <a:cubicBezTo>
                  <a:pt x="11977098" y="4275389"/>
                  <a:pt x="12048407" y="4265875"/>
                  <a:pt x="12139920" y="4248830"/>
                </a:cubicBezTo>
                <a:lnTo>
                  <a:pt x="12192000" y="4238176"/>
                </a:lnTo>
                <a:lnTo>
                  <a:pt x="12192000" y="4877795"/>
                </a:lnTo>
                <a:lnTo>
                  <a:pt x="12173693" y="4890450"/>
                </a:lnTo>
                <a:cubicBezTo>
                  <a:pt x="11925003" y="5082654"/>
                  <a:pt x="11809126" y="5309196"/>
                  <a:pt x="11823388" y="5651684"/>
                </a:cubicBezTo>
                <a:cubicBezTo>
                  <a:pt x="11831707" y="5818171"/>
                  <a:pt x="11946792" y="6244448"/>
                  <a:pt x="12181381" y="6745688"/>
                </a:cubicBezTo>
                <a:lnTo>
                  <a:pt x="12192000" y="6767229"/>
                </a:lnTo>
                <a:lnTo>
                  <a:pt x="12192000" y="6858000"/>
                </a:lnTo>
                <a:lnTo>
                  <a:pt x="11748516" y="6858000"/>
                </a:lnTo>
                <a:lnTo>
                  <a:pt x="11744223" y="6845586"/>
                </a:lnTo>
                <a:cubicBezTo>
                  <a:pt x="11639321" y="6545909"/>
                  <a:pt x="11479520" y="6112695"/>
                  <a:pt x="11424057" y="5987830"/>
                </a:cubicBezTo>
                <a:cubicBezTo>
                  <a:pt x="10920140" y="4849374"/>
                  <a:pt x="9953508" y="3920216"/>
                  <a:pt x="8644592" y="3856792"/>
                </a:cubicBezTo>
                <a:cubicBezTo>
                  <a:pt x="7446601" y="3799711"/>
                  <a:pt x="6365874" y="3986811"/>
                  <a:pt x="5459457" y="4687643"/>
                </a:cubicBezTo>
                <a:cubicBezTo>
                  <a:pt x="4849369" y="5159357"/>
                  <a:pt x="4574137" y="5876293"/>
                  <a:pt x="4527600" y="6636628"/>
                </a:cubicBezTo>
                <a:lnTo>
                  <a:pt x="4523380" y="6858000"/>
                </a:lnTo>
                <a:lnTo>
                  <a:pt x="4101261" y="6858000"/>
                </a:lnTo>
                <a:lnTo>
                  <a:pt x="4129024" y="6686756"/>
                </a:lnTo>
                <a:cubicBezTo>
                  <a:pt x="4619962" y="3869418"/>
                  <a:pt x="5877804" y="2678696"/>
                  <a:pt x="5583060" y="860020"/>
                </a:cubicBezTo>
                <a:cubicBezTo>
                  <a:pt x="5434103" y="-59624"/>
                  <a:pt x="4099833" y="127476"/>
                  <a:pt x="3662471" y="270180"/>
                </a:cubicBezTo>
                <a:cubicBezTo>
                  <a:pt x="1529540" y="980525"/>
                  <a:pt x="1031962" y="1034436"/>
                  <a:pt x="198439" y="2486840"/>
                </a:cubicBezTo>
                <a:lnTo>
                  <a:pt x="0" y="2850498"/>
                </a:lnTo>
                <a:lnTo>
                  <a:pt x="0" y="651095"/>
                </a:lnTo>
                <a:lnTo>
                  <a:pt x="13333" y="659740"/>
                </a:lnTo>
                <a:cubicBezTo>
                  <a:pt x="306591" y="810471"/>
                  <a:pt x="766534" y="821173"/>
                  <a:pt x="1529540" y="571443"/>
                </a:cubicBezTo>
                <a:cubicBezTo>
                  <a:pt x="1798930" y="482253"/>
                  <a:pt x="2293636" y="276621"/>
                  <a:pt x="2758320" y="100100"/>
                </a:cubicBez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7" name="Freeform 16"/>
          <p:cNvSpPr/>
          <p:nvPr userDrawn="1"/>
        </p:nvSpPr>
        <p:spPr bwMode="gray">
          <a:xfrm>
            <a:off x="0" y="0"/>
            <a:ext cx="12192000" cy="6858000"/>
          </a:xfrm>
          <a:custGeom>
            <a:avLst/>
            <a:gdLst>
              <a:gd name="connsiteX0" fmla="*/ 349336 w 12160800"/>
              <a:gd name="connsiteY0" fmla="*/ 0 h 6858000"/>
              <a:gd name="connsiteX1" fmla="*/ 2343649 w 12160800"/>
              <a:gd name="connsiteY1" fmla="*/ 0 h 6858000"/>
              <a:gd name="connsiteX2" fmla="*/ 2362300 w 12160800"/>
              <a:gd name="connsiteY2" fmla="*/ 74444 h 6858000"/>
              <a:gd name="connsiteX3" fmla="*/ 3066495 w 12160800"/>
              <a:gd name="connsiteY3" fmla="*/ 1483638 h 6858000"/>
              <a:gd name="connsiteX4" fmla="*/ 3887362 w 12160800"/>
              <a:gd name="connsiteY4" fmla="*/ 1569259 h 6858000"/>
              <a:gd name="connsiteX5" fmla="*/ 4635346 w 12160800"/>
              <a:gd name="connsiteY5" fmla="*/ 56135 h 6858000"/>
              <a:gd name="connsiteX6" fmla="*/ 4613106 w 12160800"/>
              <a:gd name="connsiteY6" fmla="*/ 0 h 6858000"/>
              <a:gd name="connsiteX7" fmla="*/ 12160800 w 12160800"/>
              <a:gd name="connsiteY7" fmla="*/ 0 h 6858000"/>
              <a:gd name="connsiteX8" fmla="*/ 12160800 w 12160800"/>
              <a:gd name="connsiteY8" fmla="*/ 6858000 h 6858000"/>
              <a:gd name="connsiteX9" fmla="*/ 6255540 w 12160800"/>
              <a:gd name="connsiteY9" fmla="*/ 6858000 h 6858000"/>
              <a:gd name="connsiteX10" fmla="*/ 6191495 w 12160800"/>
              <a:gd name="connsiteY10" fmla="*/ 6468735 h 6858000"/>
              <a:gd name="connsiteX11" fmla="*/ 5449862 w 12160800"/>
              <a:gd name="connsiteY11" fmla="*/ 4474062 h 6858000"/>
              <a:gd name="connsiteX12" fmla="*/ 4895222 w 12160800"/>
              <a:gd name="connsiteY12" fmla="*/ 3322923 h 6858000"/>
              <a:gd name="connsiteX13" fmla="*/ 2527702 w 12160800"/>
              <a:gd name="connsiteY13" fmla="*/ 2714056 h 6858000"/>
              <a:gd name="connsiteX14" fmla="*/ 870120 w 12160800"/>
              <a:gd name="connsiteY14" fmla="*/ 4667504 h 6858000"/>
              <a:gd name="connsiteX15" fmla="*/ 677253 w 12160800"/>
              <a:gd name="connsiteY15" fmla="*/ 6722405 h 6858000"/>
              <a:gd name="connsiteX16" fmla="*/ 731247 w 12160800"/>
              <a:gd name="connsiteY16" fmla="*/ 6858000 h 6858000"/>
              <a:gd name="connsiteX17" fmla="*/ 0 w 12160800"/>
              <a:gd name="connsiteY17" fmla="*/ 6858000 h 6858000"/>
              <a:gd name="connsiteX18" fmla="*/ 0 w 12160800"/>
              <a:gd name="connsiteY18" fmla="*/ 4583499 h 6858000"/>
              <a:gd name="connsiteX19" fmla="*/ 125318 w 12160800"/>
              <a:gd name="connsiteY19" fmla="*/ 4534314 h 6858000"/>
              <a:gd name="connsiteX20" fmla="*/ 2207595 w 12160800"/>
              <a:gd name="connsiteY20" fmla="*/ 2580866 h 6858000"/>
              <a:gd name="connsiteX21" fmla="*/ 2404096 w 12160800"/>
              <a:gd name="connsiteY21" fmla="*/ 674986 h 6858000"/>
              <a:gd name="connsiteX22" fmla="*/ 1418422 w 12160800"/>
              <a:gd name="connsiteY22" fmla="*/ 9038 h 6858000"/>
              <a:gd name="connsiteX23" fmla="*/ 88715 w 12160800"/>
              <a:gd name="connsiteY23" fmla="*/ 380165 h 6858000"/>
              <a:gd name="connsiteX24" fmla="*/ 0 w 12160800"/>
              <a:gd name="connsiteY24" fmla="*/ 432649 h 6858000"/>
              <a:gd name="connsiteX25" fmla="*/ 0 w 12160800"/>
              <a:gd name="connsiteY25" fmla="*/ 218659 h 6858000"/>
              <a:gd name="connsiteX26" fmla="*/ 3446 w 12160800"/>
              <a:gd name="connsiteY26" fmla="*/ 216602 h 6858000"/>
              <a:gd name="connsiteX27" fmla="*/ 331723 w 12160800"/>
              <a:gd name="connsiteY27" fmla="*/ 118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60800" h="6858000">
                <a:moveTo>
                  <a:pt x="349336" y="0"/>
                </a:moveTo>
                <a:lnTo>
                  <a:pt x="2343649" y="0"/>
                </a:lnTo>
                <a:lnTo>
                  <a:pt x="2362300" y="74444"/>
                </a:lnTo>
                <a:cubicBezTo>
                  <a:pt x="2552462" y="724338"/>
                  <a:pt x="2869202" y="1267204"/>
                  <a:pt x="3066495" y="1483638"/>
                </a:cubicBezTo>
                <a:cubicBezTo>
                  <a:pt x="3180592" y="1610485"/>
                  <a:pt x="3510207" y="1750017"/>
                  <a:pt x="3887362" y="1569259"/>
                </a:cubicBezTo>
                <a:cubicBezTo>
                  <a:pt x="4392085" y="1325078"/>
                  <a:pt x="4857982" y="738559"/>
                  <a:pt x="4635346" y="56135"/>
                </a:cubicBezTo>
                <a:lnTo>
                  <a:pt x="4613106" y="0"/>
                </a:lnTo>
                <a:lnTo>
                  <a:pt x="12160800" y="0"/>
                </a:lnTo>
                <a:lnTo>
                  <a:pt x="12160800" y="6858000"/>
                </a:lnTo>
                <a:lnTo>
                  <a:pt x="6255540" y="6858000"/>
                </a:lnTo>
                <a:lnTo>
                  <a:pt x="6191495" y="6468735"/>
                </a:lnTo>
                <a:cubicBezTo>
                  <a:pt x="6052043" y="5780588"/>
                  <a:pt x="5760461" y="5120983"/>
                  <a:pt x="5449862" y="4474062"/>
                </a:cubicBezTo>
                <a:cubicBezTo>
                  <a:pt x="5430846" y="4436007"/>
                  <a:pt x="5120248" y="3808114"/>
                  <a:pt x="4895222" y="3322923"/>
                </a:cubicBezTo>
                <a:cubicBezTo>
                  <a:pt x="4473696" y="2409622"/>
                  <a:pt x="3082342" y="2162270"/>
                  <a:pt x="2527702" y="2714056"/>
                </a:cubicBezTo>
                <a:cubicBezTo>
                  <a:pt x="2042788" y="3199247"/>
                  <a:pt x="1082468" y="4302818"/>
                  <a:pt x="870120" y="4667504"/>
                </a:cubicBezTo>
                <a:cubicBezTo>
                  <a:pt x="495738" y="5314028"/>
                  <a:pt x="439234" y="6018823"/>
                  <a:pt x="677253" y="6722405"/>
                </a:cubicBezTo>
                <a:lnTo>
                  <a:pt x="731247" y="6858000"/>
                </a:lnTo>
                <a:lnTo>
                  <a:pt x="0" y="6858000"/>
                </a:lnTo>
                <a:lnTo>
                  <a:pt x="0" y="4583499"/>
                </a:lnTo>
                <a:lnTo>
                  <a:pt x="125318" y="4534314"/>
                </a:lnTo>
                <a:cubicBezTo>
                  <a:pt x="1028589" y="4156944"/>
                  <a:pt x="1789238" y="3465626"/>
                  <a:pt x="2207595" y="2580866"/>
                </a:cubicBezTo>
                <a:cubicBezTo>
                  <a:pt x="2473823" y="2010054"/>
                  <a:pt x="2679832" y="1299709"/>
                  <a:pt x="2404096" y="674986"/>
                </a:cubicBezTo>
                <a:cubicBezTo>
                  <a:pt x="2229781" y="288102"/>
                  <a:pt x="1843118" y="18552"/>
                  <a:pt x="1418422" y="9038"/>
                </a:cubicBezTo>
                <a:cubicBezTo>
                  <a:pt x="966390" y="-4836"/>
                  <a:pt x="516785" y="141534"/>
                  <a:pt x="88715" y="380165"/>
                </a:cubicBezTo>
                <a:lnTo>
                  <a:pt x="0" y="432649"/>
                </a:lnTo>
                <a:lnTo>
                  <a:pt x="0" y="218659"/>
                </a:lnTo>
                <a:lnTo>
                  <a:pt x="3446" y="216602"/>
                </a:lnTo>
                <a:cubicBezTo>
                  <a:pt x="117494" y="147282"/>
                  <a:pt x="227332" y="79002"/>
                  <a:pt x="331723" y="11813"/>
                </a:cubicBez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7" name="Text Placeholder 12"/>
          <p:cNvSpPr>
            <a:spLocks noGrp="1"/>
          </p:cNvSpPr>
          <p:nvPr>
            <p:ph type="body" sz="quarter" idx="10" hasCustomPrompt="1"/>
          </p:nvPr>
        </p:nvSpPr>
        <p:spPr>
          <a:xfrm>
            <a:off x="5808663" y="3501000"/>
            <a:ext cx="5759450"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p>
          <a:p>
            <a:r>
              <a:rPr lang="en-US" noProof="0" dirty="0"/>
              <a:t>Place, Date</a:t>
            </a:r>
          </a:p>
        </p:txBody>
      </p:sp>
      <p:sp>
        <p:nvSpPr>
          <p:cNvPr id="3" name="Subtitle 2"/>
          <p:cNvSpPr>
            <a:spLocks noGrp="1"/>
          </p:cNvSpPr>
          <p:nvPr>
            <p:ph type="subTitle" idx="1" hasCustomPrompt="1"/>
          </p:nvPr>
        </p:nvSpPr>
        <p:spPr>
          <a:xfrm>
            <a:off x="5807692" y="2565000"/>
            <a:ext cx="5760420" cy="647311"/>
          </a:xfrm>
          <a:prstGeom prst="rect">
            <a:avLst/>
          </a:prstGeom>
        </p:spPr>
        <p:txBody>
          <a:bodyPr>
            <a:noAutofit/>
          </a:bodyPr>
          <a:lstStyle>
            <a:lvl1pPr marL="0" indent="0" algn="l">
              <a:spcBef>
                <a:spcPts val="0"/>
              </a:spcBef>
              <a:spcAft>
                <a:spcPts val="1200"/>
              </a:spcAft>
              <a:buNone/>
              <a:defRPr sz="1400" b="1" i="0" baseline="0">
                <a:solidFill>
                  <a:schemeClr val="accent1"/>
                </a:solidFill>
                <a:latin typeface="+mn-lt"/>
              </a:defRPr>
            </a:lvl1pPr>
            <a:lvl2pPr marL="0" indent="0" algn="l">
              <a:spcBef>
                <a:spcPts val="0"/>
              </a:spcBef>
              <a:spcAft>
                <a:spcPts val="1200"/>
              </a:spcAft>
              <a:buNone/>
              <a:defRPr sz="1400" b="1">
                <a:solidFill>
                  <a:schemeClr val="accent1"/>
                </a:solidFill>
              </a:defRPr>
            </a:lvl2pPr>
            <a:lvl3pPr marL="0" indent="0" algn="l">
              <a:spcBef>
                <a:spcPts val="0"/>
              </a:spcBef>
              <a:spcAft>
                <a:spcPts val="1200"/>
              </a:spcAft>
              <a:buNone/>
              <a:defRPr sz="1400" b="1">
                <a:solidFill>
                  <a:schemeClr val="accent1"/>
                </a:solidFill>
              </a:defRPr>
            </a:lvl3pPr>
            <a:lvl4pPr marL="0" indent="0" algn="l">
              <a:spcBef>
                <a:spcPts val="0"/>
              </a:spcBef>
              <a:spcAft>
                <a:spcPts val="1200"/>
              </a:spcAft>
              <a:buNone/>
              <a:defRPr sz="1400" b="1">
                <a:solidFill>
                  <a:schemeClr val="accent1"/>
                </a:solidFill>
              </a:defRPr>
            </a:lvl4pPr>
            <a:lvl5pPr marL="0" indent="0" algn="l">
              <a:spcBef>
                <a:spcPts val="0"/>
              </a:spcBef>
              <a:spcAft>
                <a:spcPts val="1200"/>
              </a:spcAft>
              <a:buNone/>
              <a:defRPr sz="1400" b="1">
                <a:solidFill>
                  <a:schemeClr val="accent1"/>
                </a:solidFill>
              </a:defRPr>
            </a:lvl5pPr>
            <a:lvl6pPr marL="0" indent="0" algn="l">
              <a:spcBef>
                <a:spcPts val="0"/>
              </a:spcBef>
              <a:spcAft>
                <a:spcPts val="1200"/>
              </a:spcAft>
              <a:buNone/>
              <a:defRPr sz="1400" b="1">
                <a:solidFill>
                  <a:schemeClr val="accent1"/>
                </a:solidFill>
              </a:defRPr>
            </a:lvl6pPr>
            <a:lvl7pPr marL="0" indent="0" algn="l">
              <a:spcBef>
                <a:spcPts val="0"/>
              </a:spcBef>
              <a:spcAft>
                <a:spcPts val="1200"/>
              </a:spcAft>
              <a:buNone/>
              <a:defRPr sz="1400" b="1">
                <a:solidFill>
                  <a:schemeClr val="accent1"/>
                </a:solidFill>
              </a:defRPr>
            </a:lvl7pPr>
            <a:lvl8pPr marL="0" indent="0" algn="l">
              <a:spcBef>
                <a:spcPts val="0"/>
              </a:spcBef>
              <a:spcAft>
                <a:spcPts val="1200"/>
              </a:spcAft>
              <a:buNone/>
              <a:defRPr sz="1400" b="1">
                <a:solidFill>
                  <a:schemeClr val="accent1"/>
                </a:solidFill>
              </a:defRPr>
            </a:lvl8pPr>
            <a:lvl9pPr marL="0" indent="0" algn="l">
              <a:spcBef>
                <a:spcPts val="0"/>
              </a:spcBef>
              <a:spcAft>
                <a:spcPts val="1200"/>
              </a:spcAft>
              <a:buNone/>
              <a:defRPr sz="1400" b="1">
                <a:solidFill>
                  <a:schemeClr val="accent1"/>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auto">
          <a:xfrm>
            <a:off x="5807692" y="1412776"/>
            <a:ext cx="5760420" cy="1152911"/>
          </a:xfrm>
          <a:prstGeom prst="rect">
            <a:avLst/>
          </a:prstGeom>
          <a:noFill/>
        </p:spPr>
        <p:txBody>
          <a:bodyPr anchor="b"/>
          <a:lstStyle>
            <a:lvl1pPr algn="l">
              <a:lnSpc>
                <a:spcPts val="3800"/>
              </a:lnSpc>
              <a:defRPr sz="4000" cap="all" baseline="0">
                <a:solidFill>
                  <a:schemeClr val="accent5"/>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pic>
        <p:nvPicPr>
          <p:cNvPr id="4" name="Grafik 3"/>
          <p:cNvPicPr>
            <a:picLocks noChangeAspect="1"/>
          </p:cNvPicPr>
          <p:nvPr userDrawn="1"/>
        </p:nvPicPr>
        <p:blipFill>
          <a:blip r:embed="rId2"/>
          <a:stretch>
            <a:fillRect/>
          </a:stretch>
        </p:blipFill>
        <p:spPr>
          <a:xfrm>
            <a:off x="983432" y="5070131"/>
            <a:ext cx="2880000" cy="1455213"/>
          </a:xfrm>
          <a:prstGeom prst="rect">
            <a:avLst/>
          </a:prstGeom>
        </p:spPr>
      </p:pic>
      <p:grpSp>
        <p:nvGrpSpPr>
          <p:cNvPr id="11" name="Logo Merck"/>
          <p:cNvGrpSpPr>
            <a:grpSpLocks noChangeAspect="1"/>
          </p:cNvGrpSpPr>
          <p:nvPr userDrawn="1"/>
        </p:nvGrpSpPr>
        <p:grpSpPr bwMode="gray">
          <a:xfrm>
            <a:off x="9536024" y="6170950"/>
            <a:ext cx="2248608" cy="354050"/>
            <a:chOff x="396364" y="7173520"/>
            <a:chExt cx="1871956" cy="294745"/>
          </a:xfrm>
          <a:solidFill>
            <a:schemeClr val="accent5"/>
          </a:solidFill>
        </p:grpSpPr>
        <p:sp>
          <p:nvSpPr>
            <p:cNvPr id="12"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3"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237532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4" name="Rechteck 73">
            <a:extLst>
              <a:ext uri="{FF2B5EF4-FFF2-40B4-BE49-F238E27FC236}">
                <a16:creationId xmlns:a16="http://schemas.microsoft.com/office/drawing/2014/main" id="{A1A770D3-63BD-45BF-AB25-100E53CC11A8}"/>
              </a:ext>
            </a:extLst>
          </p:cNvPr>
          <p:cNvSpPr/>
          <p:nvPr/>
        </p:nvSpPr>
        <p:spPr bwMode="gray">
          <a:xfrm>
            <a:off x="0" y="0"/>
            <a:ext cx="12192000" cy="6858000"/>
          </a:xfrm>
          <a:prstGeom prst="rect">
            <a:avLst/>
          </a:prstGeom>
          <a:solidFill>
            <a:schemeClr val="accent3"/>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sp>
        <p:nvSpPr>
          <p:cNvPr id="28" name="Freihandform: Form 27">
            <a:extLst>
              <a:ext uri="{FF2B5EF4-FFF2-40B4-BE49-F238E27FC236}">
                <a16:creationId xmlns:a16="http://schemas.microsoft.com/office/drawing/2014/main" id="{C71FD00C-BA5C-4FB6-9BC8-7A70CB092290}"/>
              </a:ext>
            </a:extLst>
          </p:cNvPr>
          <p:cNvSpPr>
            <a:spLocks/>
          </p:cNvSpPr>
          <p:nvPr userDrawn="1"/>
        </p:nvSpPr>
        <p:spPr bwMode="auto">
          <a:xfrm>
            <a:off x="0" y="0"/>
            <a:ext cx="11618517" cy="5373216"/>
          </a:xfrm>
          <a:custGeom>
            <a:avLst/>
            <a:gdLst>
              <a:gd name="connsiteX0" fmla="*/ 0 w 11618517"/>
              <a:gd name="connsiteY0" fmla="*/ 0 h 5102648"/>
              <a:gd name="connsiteX1" fmla="*/ 10936453 w 11618517"/>
              <a:gd name="connsiteY1" fmla="*/ 0 h 5102648"/>
              <a:gd name="connsiteX2" fmla="*/ 10937350 w 11618517"/>
              <a:gd name="connsiteY2" fmla="*/ 4319 h 5102648"/>
              <a:gd name="connsiteX3" fmla="*/ 11569401 w 11618517"/>
              <a:gd name="connsiteY3" fmla="*/ 3057010 h 5102648"/>
              <a:gd name="connsiteX4" fmla="*/ 7953960 w 11618517"/>
              <a:gd name="connsiteY4" fmla="*/ 4996506 h 5102648"/>
              <a:gd name="connsiteX5" fmla="*/ 86246 w 11618517"/>
              <a:gd name="connsiteY5" fmla="*/ 3698730 h 5102648"/>
              <a:gd name="connsiteX6" fmla="*/ 0 w 11618517"/>
              <a:gd name="connsiteY6" fmla="*/ 3684244 h 510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8517" h="5102648">
                <a:moveTo>
                  <a:pt x="0" y="0"/>
                </a:moveTo>
                <a:lnTo>
                  <a:pt x="10936453" y="0"/>
                </a:lnTo>
                <a:lnTo>
                  <a:pt x="10937350" y="4319"/>
                </a:lnTo>
                <a:cubicBezTo>
                  <a:pt x="11247430" y="1497930"/>
                  <a:pt x="11569401" y="3057010"/>
                  <a:pt x="11569401" y="3057010"/>
                </a:cubicBezTo>
                <a:cubicBezTo>
                  <a:pt x="11856638" y="4341692"/>
                  <a:pt x="10913751" y="5457994"/>
                  <a:pt x="7953960" y="4996506"/>
                </a:cubicBezTo>
                <a:cubicBezTo>
                  <a:pt x="5970620" y="4685470"/>
                  <a:pt x="1238329" y="3892190"/>
                  <a:pt x="86246" y="3698730"/>
                </a:cubicBezTo>
                <a:lnTo>
                  <a:pt x="0" y="3684244"/>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9" name="Freihandform: Form 28">
            <a:extLst>
              <a:ext uri="{FF2B5EF4-FFF2-40B4-BE49-F238E27FC236}">
                <a16:creationId xmlns:a16="http://schemas.microsoft.com/office/drawing/2014/main" id="{21E3F2C5-CF6B-4E17-9DF1-3A724A602327}"/>
              </a:ext>
            </a:extLst>
          </p:cNvPr>
          <p:cNvSpPr>
            <a:spLocks/>
          </p:cNvSpPr>
          <p:nvPr userDrawn="1"/>
        </p:nvSpPr>
        <p:spPr bwMode="auto">
          <a:xfrm>
            <a:off x="8703257" y="5658891"/>
            <a:ext cx="3488743" cy="1199109"/>
          </a:xfrm>
          <a:custGeom>
            <a:avLst/>
            <a:gdLst>
              <a:gd name="connsiteX0" fmla="*/ 2302252 w 3520481"/>
              <a:gd name="connsiteY0" fmla="*/ 191 h 1310125"/>
              <a:gd name="connsiteX1" fmla="*/ 2811762 w 3520481"/>
              <a:gd name="connsiteY1" fmla="*/ 19862 h 1310125"/>
              <a:gd name="connsiteX2" fmla="*/ 3474500 w 3520481"/>
              <a:gd name="connsiteY2" fmla="*/ 76983 h 1310125"/>
              <a:gd name="connsiteX3" fmla="*/ 3520481 w 3520481"/>
              <a:gd name="connsiteY3" fmla="*/ 80946 h 1310125"/>
              <a:gd name="connsiteX4" fmla="*/ 3520481 w 3520481"/>
              <a:gd name="connsiteY4" fmla="*/ 1310125 h 1310125"/>
              <a:gd name="connsiteX5" fmla="*/ 31066 w 3520481"/>
              <a:gd name="connsiteY5" fmla="*/ 1310125 h 1310125"/>
              <a:gd name="connsiteX6" fmla="*/ 13827 w 3520481"/>
              <a:gd name="connsiteY6" fmla="*/ 1192778 h 1310125"/>
              <a:gd name="connsiteX7" fmla="*/ 551 w 3520481"/>
              <a:gd name="connsiteY7" fmla="*/ 937796 h 1310125"/>
              <a:gd name="connsiteX8" fmla="*/ 2167298 w 3520481"/>
              <a:gd name="connsiteY8" fmla="*/ 371 h 1310125"/>
              <a:gd name="connsiteX9" fmla="*/ 2302252 w 3520481"/>
              <a:gd name="connsiteY9" fmla="*/ 191 h 131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0481" h="1310125">
                <a:moveTo>
                  <a:pt x="2302252" y="191"/>
                </a:moveTo>
                <a:cubicBezTo>
                  <a:pt x="2604376" y="2228"/>
                  <a:pt x="2811762" y="19862"/>
                  <a:pt x="2811762" y="19862"/>
                </a:cubicBezTo>
                <a:cubicBezTo>
                  <a:pt x="2811762" y="19862"/>
                  <a:pt x="2811762" y="19862"/>
                  <a:pt x="3474500" y="76983"/>
                </a:cubicBezTo>
                <a:lnTo>
                  <a:pt x="3520481" y="80946"/>
                </a:lnTo>
                <a:lnTo>
                  <a:pt x="3520481" y="1310125"/>
                </a:lnTo>
                <a:lnTo>
                  <a:pt x="31066" y="1310125"/>
                </a:lnTo>
                <a:lnTo>
                  <a:pt x="13827" y="1192778"/>
                </a:lnTo>
                <a:cubicBezTo>
                  <a:pt x="-4134" y="1039789"/>
                  <a:pt x="551" y="937796"/>
                  <a:pt x="551" y="937796"/>
                </a:cubicBezTo>
                <a:cubicBezTo>
                  <a:pt x="26321" y="144564"/>
                  <a:pt x="1345394" y="8159"/>
                  <a:pt x="2167298" y="371"/>
                </a:cubicBezTo>
                <a:cubicBezTo>
                  <a:pt x="2213997" y="-72"/>
                  <a:pt x="2259091" y="-100"/>
                  <a:pt x="2302252" y="19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Text Placeholder 12"/>
          <p:cNvSpPr>
            <a:spLocks noGrp="1"/>
          </p:cNvSpPr>
          <p:nvPr userDrawn="1">
            <p:ph type="body" sz="quarter" idx="10" hasCustomPrompt="1"/>
          </p:nvPr>
        </p:nvSpPr>
        <p:spPr bwMode="gray">
          <a:xfrm>
            <a:off x="4366481" y="3597205"/>
            <a:ext cx="6265902"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3"/>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dirty="0"/>
              <a:t>Name</a:t>
            </a:r>
            <a:br>
              <a:rPr lang="en-US" noProof="0" dirty="0"/>
            </a:br>
            <a:r>
              <a:rPr lang="en-US" noProof="0" dirty="0"/>
              <a:t>Place, Date</a:t>
            </a:r>
          </a:p>
        </p:txBody>
      </p:sp>
      <p:sp>
        <p:nvSpPr>
          <p:cNvPr id="3" name="Subtitle 2"/>
          <p:cNvSpPr>
            <a:spLocks noGrp="1"/>
          </p:cNvSpPr>
          <p:nvPr userDrawn="1">
            <p:ph type="subTitle" idx="1" hasCustomPrompt="1"/>
          </p:nvPr>
        </p:nvSpPr>
        <p:spPr bwMode="gray">
          <a:xfrm>
            <a:off x="4367212" y="2877197"/>
            <a:ext cx="6265291" cy="576000"/>
          </a:xfrm>
          <a:prstGeom prst="rect">
            <a:avLst/>
          </a:prstGeom>
        </p:spPr>
        <p:txBody>
          <a:bodyPr>
            <a:noAutofit/>
          </a:bodyPr>
          <a:lstStyle>
            <a:lvl1pPr marL="0" indent="0" algn="l">
              <a:spcBef>
                <a:spcPts val="0"/>
              </a:spcBef>
              <a:spcAft>
                <a:spcPts val="1200"/>
              </a:spcAft>
              <a:buNone/>
              <a:defRPr sz="1600" b="1" i="0" baseline="0">
                <a:solidFill>
                  <a:schemeClr val="accent3"/>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dirty="0"/>
              <a:t>Subtitle and other information of this presentation</a:t>
            </a:r>
            <a:endParaRPr lang="en-US" dirty="0"/>
          </a:p>
          <a:p>
            <a:pPr lvl="0"/>
            <a:endParaRPr lang="en-US" noProof="0" dirty="0"/>
          </a:p>
        </p:txBody>
      </p:sp>
      <p:sp>
        <p:nvSpPr>
          <p:cNvPr id="2" name="Title 1"/>
          <p:cNvSpPr>
            <a:spLocks noGrp="1"/>
          </p:cNvSpPr>
          <p:nvPr userDrawn="1">
            <p:ph type="ctrTitle" hasCustomPrompt="1"/>
          </p:nvPr>
        </p:nvSpPr>
        <p:spPr bwMode="gray">
          <a:xfrm>
            <a:off x="4367212" y="1484784"/>
            <a:ext cx="6265291" cy="1249282"/>
          </a:xfrm>
          <a:prstGeom prst="rect">
            <a:avLst/>
          </a:prstGeom>
          <a:noFill/>
        </p:spPr>
        <p:txBody>
          <a:bodyPr anchor="b"/>
          <a:lstStyle>
            <a:lvl1pPr algn="l">
              <a:lnSpc>
                <a:spcPct val="100000"/>
              </a:lnSpc>
              <a:defRPr sz="4000" b="0" cap="none" baseline="0">
                <a:solidFill>
                  <a:schemeClr val="accent3"/>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grpSp>
        <p:nvGrpSpPr>
          <p:cNvPr id="27" name="Gruppieren 26">
            <a:extLst>
              <a:ext uri="{FF2B5EF4-FFF2-40B4-BE49-F238E27FC236}">
                <a16:creationId xmlns:a16="http://schemas.microsoft.com/office/drawing/2014/main" id="{7E26C806-79CC-413B-B7B7-5E83B06F6836}"/>
              </a:ext>
            </a:extLst>
          </p:cNvPr>
          <p:cNvGrpSpPr/>
          <p:nvPr userDrawn="1">
            <p:custDataLst>
              <p:tags r:id="rId1"/>
            </p:custDataLst>
          </p:nvPr>
        </p:nvGrpSpPr>
        <p:grpSpPr bwMode="gray">
          <a:xfrm>
            <a:off x="438112" y="5303128"/>
            <a:ext cx="2446405" cy="1229401"/>
            <a:chOff x="2649538" y="1697038"/>
            <a:chExt cx="6892925" cy="3463925"/>
          </a:xfrm>
        </p:grpSpPr>
        <p:sp>
          <p:nvSpPr>
            <p:cNvPr id="30" name="Freeform 17">
              <a:extLst>
                <a:ext uri="{FF2B5EF4-FFF2-40B4-BE49-F238E27FC236}">
                  <a16:creationId xmlns:a16="http://schemas.microsoft.com/office/drawing/2014/main" id="{A001B586-72CE-4B49-92C7-A23168820EA4}"/>
                </a:ext>
              </a:extLst>
            </p:cNvPr>
            <p:cNvSpPr>
              <a:spLocks noEditPoints="1"/>
            </p:cNvSpPr>
            <p:nvPr>
              <p:custDataLst>
                <p:tags r:id="rId2"/>
              </p:custDataLst>
            </p:nvPr>
          </p:nvSpPr>
          <p:spPr bwMode="gray">
            <a:xfrm>
              <a:off x="2649538" y="1697038"/>
              <a:ext cx="6892925" cy="3463925"/>
            </a:xfrm>
            <a:custGeom>
              <a:avLst/>
              <a:gdLst>
                <a:gd name="T0" fmla="*/ 31 w 1835"/>
                <a:gd name="T1" fmla="*/ 747 h 921"/>
                <a:gd name="T2" fmla="*/ 384 w 1835"/>
                <a:gd name="T3" fmla="*/ 102 h 921"/>
                <a:gd name="T4" fmla="*/ 51 w 1835"/>
                <a:gd name="T5" fmla="*/ 48 h 921"/>
                <a:gd name="T6" fmla="*/ 196 w 1835"/>
                <a:gd name="T7" fmla="*/ 874 h 921"/>
                <a:gd name="T8" fmla="*/ 1645 w 1835"/>
                <a:gd name="T9" fmla="*/ 852 h 921"/>
                <a:gd name="T10" fmla="*/ 1534 w 1835"/>
                <a:gd name="T11" fmla="*/ 532 h 921"/>
                <a:gd name="T12" fmla="*/ 865 w 1835"/>
                <a:gd name="T13" fmla="*/ 836 h 921"/>
                <a:gd name="T14" fmla="*/ 306 w 1835"/>
                <a:gd name="T15" fmla="*/ 563 h 921"/>
                <a:gd name="T16" fmla="*/ 291 w 1835"/>
                <a:gd name="T17" fmla="*/ 879 h 921"/>
                <a:gd name="T18" fmla="*/ 13 w 1835"/>
                <a:gd name="T19" fmla="*/ 762 h 921"/>
                <a:gd name="T20" fmla="*/ 249 w 1835"/>
                <a:gd name="T21" fmla="*/ 17 h 921"/>
                <a:gd name="T22" fmla="*/ 624 w 1835"/>
                <a:gd name="T23" fmla="*/ 309 h 921"/>
                <a:gd name="T24" fmla="*/ 554 w 1835"/>
                <a:gd name="T25" fmla="*/ 296 h 921"/>
                <a:gd name="T26" fmla="*/ 219 w 1835"/>
                <a:gd name="T27" fmla="*/ 56 h 921"/>
                <a:gd name="T28" fmla="*/ 62 w 1835"/>
                <a:gd name="T29" fmla="*/ 761 h 921"/>
                <a:gd name="T30" fmla="*/ 243 w 1835"/>
                <a:gd name="T31" fmla="*/ 846 h 921"/>
                <a:gd name="T32" fmla="*/ 662 w 1835"/>
                <a:gd name="T33" fmla="*/ 619 h 921"/>
                <a:gd name="T34" fmla="*/ 1277 w 1835"/>
                <a:gd name="T35" fmla="*/ 546 h 921"/>
                <a:gd name="T36" fmla="*/ 1650 w 1835"/>
                <a:gd name="T37" fmla="*/ 852 h 921"/>
                <a:gd name="T38" fmla="*/ 651 w 1835"/>
                <a:gd name="T39" fmla="*/ 620 h 921"/>
                <a:gd name="T40" fmla="*/ 233 w 1835"/>
                <a:gd name="T41" fmla="*/ 860 h 921"/>
                <a:gd name="T42" fmla="*/ 58 w 1835"/>
                <a:gd name="T43" fmla="*/ 717 h 921"/>
                <a:gd name="T44" fmla="*/ 368 w 1835"/>
                <a:gd name="T45" fmla="*/ 117 h 921"/>
                <a:gd name="T46" fmla="*/ 975 w 1835"/>
                <a:gd name="T47" fmla="*/ 420 h 921"/>
                <a:gd name="T48" fmla="*/ 250 w 1835"/>
                <a:gd name="T49" fmla="*/ 21 h 921"/>
                <a:gd name="T50" fmla="*/ 39 w 1835"/>
                <a:gd name="T51" fmla="*/ 823 h 921"/>
                <a:gd name="T52" fmla="*/ 288 w 1835"/>
                <a:gd name="T53" fmla="*/ 865 h 921"/>
                <a:gd name="T54" fmla="*/ 590 w 1835"/>
                <a:gd name="T55" fmla="*/ 612 h 921"/>
                <a:gd name="T56" fmla="*/ 1301 w 1835"/>
                <a:gd name="T57" fmla="*/ 542 h 921"/>
                <a:gd name="T58" fmla="*/ 1645 w 1835"/>
                <a:gd name="T59" fmla="*/ 892 h 921"/>
                <a:gd name="T60" fmla="*/ 1531 w 1835"/>
                <a:gd name="T61" fmla="*/ 564 h 921"/>
                <a:gd name="T62" fmla="*/ 829 w 1835"/>
                <a:gd name="T63" fmla="*/ 839 h 921"/>
                <a:gd name="T64" fmla="*/ 308 w 1835"/>
                <a:gd name="T65" fmla="*/ 612 h 921"/>
                <a:gd name="T66" fmla="*/ 215 w 1835"/>
                <a:gd name="T67" fmla="*/ 921 h 921"/>
                <a:gd name="T68" fmla="*/ 1 w 1835"/>
                <a:gd name="T69" fmla="*/ 570 h 921"/>
                <a:gd name="T70" fmla="*/ 522 w 1835"/>
                <a:gd name="T71" fmla="*/ 194 h 921"/>
                <a:gd name="T72" fmla="*/ 1784 w 1835"/>
                <a:gd name="T73" fmla="*/ 48 h 921"/>
                <a:gd name="T74" fmla="*/ 853 w 1835"/>
                <a:gd name="T75" fmla="*/ 455 h 921"/>
                <a:gd name="T76" fmla="*/ 368 w 1835"/>
                <a:gd name="T77" fmla="*/ 148 h 921"/>
                <a:gd name="T78" fmla="*/ 177 w 1835"/>
                <a:gd name="T79" fmla="*/ 844 h 921"/>
                <a:gd name="T80" fmla="*/ 231 w 1835"/>
                <a:gd name="T81" fmla="*/ 838 h 921"/>
                <a:gd name="T82" fmla="*/ 502 w 1835"/>
                <a:gd name="T83" fmla="*/ 484 h 921"/>
                <a:gd name="T84" fmla="*/ 1194 w 1835"/>
                <a:gd name="T85" fmla="*/ 606 h 921"/>
                <a:gd name="T86" fmla="*/ 1605 w 1835"/>
                <a:gd name="T87" fmla="*/ 747 h 921"/>
                <a:gd name="T88" fmla="*/ 1777 w 1835"/>
                <a:gd name="T89" fmla="*/ 856 h 921"/>
                <a:gd name="T90" fmla="*/ 1811 w 1835"/>
                <a:gd name="T91" fmla="*/ 454 h 921"/>
                <a:gd name="T92" fmla="*/ 1775 w 1835"/>
                <a:gd name="T93" fmla="*/ 866 h 921"/>
                <a:gd name="T94" fmla="*/ 1601 w 1835"/>
                <a:gd name="T95" fmla="*/ 614 h 921"/>
                <a:gd name="T96" fmla="*/ 1011 w 1835"/>
                <a:gd name="T97" fmla="*/ 764 h 921"/>
                <a:gd name="T98" fmla="*/ 240 w 1835"/>
                <a:gd name="T99" fmla="*/ 575 h 921"/>
                <a:gd name="T100" fmla="*/ 204 w 1835"/>
                <a:gd name="T101" fmla="*/ 849 h 921"/>
                <a:gd name="T102" fmla="*/ 77 w 1835"/>
                <a:gd name="T103" fmla="*/ 69 h 921"/>
                <a:gd name="T104" fmla="*/ 544 w 1835"/>
                <a:gd name="T105" fmla="*/ 305 h 921"/>
                <a:gd name="T106" fmla="*/ 1489 w 1835"/>
                <a:gd name="T107" fmla="*/ 102 h 921"/>
                <a:gd name="T108" fmla="*/ 1536 w 1835"/>
                <a:gd name="T109" fmla="*/ 32 h 921"/>
                <a:gd name="T110" fmla="*/ 586 w 1835"/>
                <a:gd name="T111" fmla="*/ 264 h 921"/>
                <a:gd name="T112" fmla="*/ 221 w 1835"/>
                <a:gd name="T113" fmla="*/ 6 h 921"/>
                <a:gd name="T114" fmla="*/ 4 w 1835"/>
                <a:gd name="T115" fmla="*/ 759 h 921"/>
                <a:gd name="T116" fmla="*/ 243 w 1835"/>
                <a:gd name="T117" fmla="*/ 916 h 921"/>
                <a:gd name="T118" fmla="*/ 386 w 1835"/>
                <a:gd name="T119" fmla="*/ 526 h 921"/>
                <a:gd name="T120" fmla="*/ 1076 w 1835"/>
                <a:gd name="T121" fmla="*/ 795 h 921"/>
                <a:gd name="T122" fmla="*/ 1551 w 1835"/>
                <a:gd name="T123" fmla="*/ 607 h 921"/>
                <a:gd name="T124" fmla="*/ 1776 w 1835"/>
                <a:gd name="T125" fmla="*/ 899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35" h="921">
                  <a:moveTo>
                    <a:pt x="272" y="835"/>
                  </a:moveTo>
                  <a:cubicBezTo>
                    <a:pt x="272" y="842"/>
                    <a:pt x="272" y="850"/>
                    <a:pt x="272" y="859"/>
                  </a:cubicBezTo>
                  <a:cubicBezTo>
                    <a:pt x="272" y="863"/>
                    <a:pt x="272" y="868"/>
                    <a:pt x="270" y="872"/>
                  </a:cubicBezTo>
                  <a:cubicBezTo>
                    <a:pt x="269" y="876"/>
                    <a:pt x="265" y="880"/>
                    <a:pt x="261" y="881"/>
                  </a:cubicBezTo>
                  <a:cubicBezTo>
                    <a:pt x="253" y="885"/>
                    <a:pt x="243" y="885"/>
                    <a:pt x="233" y="886"/>
                  </a:cubicBezTo>
                  <a:cubicBezTo>
                    <a:pt x="224" y="887"/>
                    <a:pt x="215" y="887"/>
                    <a:pt x="205" y="887"/>
                  </a:cubicBezTo>
                  <a:cubicBezTo>
                    <a:pt x="200" y="888"/>
                    <a:pt x="196" y="888"/>
                    <a:pt x="191" y="888"/>
                  </a:cubicBezTo>
                  <a:cubicBezTo>
                    <a:pt x="186" y="888"/>
                    <a:pt x="181" y="888"/>
                    <a:pt x="176" y="887"/>
                  </a:cubicBezTo>
                  <a:cubicBezTo>
                    <a:pt x="156" y="886"/>
                    <a:pt x="135" y="881"/>
                    <a:pt x="115" y="871"/>
                  </a:cubicBezTo>
                  <a:cubicBezTo>
                    <a:pt x="96" y="862"/>
                    <a:pt x="77" y="849"/>
                    <a:pt x="61" y="831"/>
                  </a:cubicBezTo>
                  <a:cubicBezTo>
                    <a:pt x="53" y="822"/>
                    <a:pt x="46" y="812"/>
                    <a:pt x="41" y="801"/>
                  </a:cubicBezTo>
                  <a:cubicBezTo>
                    <a:pt x="36" y="790"/>
                    <a:pt x="32" y="778"/>
                    <a:pt x="31" y="765"/>
                  </a:cubicBezTo>
                  <a:cubicBezTo>
                    <a:pt x="31" y="762"/>
                    <a:pt x="31" y="759"/>
                    <a:pt x="31" y="756"/>
                  </a:cubicBezTo>
                  <a:cubicBezTo>
                    <a:pt x="31" y="753"/>
                    <a:pt x="31" y="750"/>
                    <a:pt x="31" y="747"/>
                  </a:cubicBezTo>
                  <a:cubicBezTo>
                    <a:pt x="31" y="741"/>
                    <a:pt x="31" y="735"/>
                    <a:pt x="30" y="729"/>
                  </a:cubicBezTo>
                  <a:cubicBezTo>
                    <a:pt x="30" y="717"/>
                    <a:pt x="30" y="705"/>
                    <a:pt x="30" y="693"/>
                  </a:cubicBezTo>
                  <a:cubicBezTo>
                    <a:pt x="30" y="594"/>
                    <a:pt x="29" y="489"/>
                    <a:pt x="29" y="381"/>
                  </a:cubicBezTo>
                  <a:cubicBezTo>
                    <a:pt x="29" y="328"/>
                    <a:pt x="29" y="274"/>
                    <a:pt x="29" y="220"/>
                  </a:cubicBezTo>
                  <a:cubicBezTo>
                    <a:pt x="30" y="165"/>
                    <a:pt x="30" y="70"/>
                    <a:pt x="30" y="57"/>
                  </a:cubicBezTo>
                  <a:cubicBezTo>
                    <a:pt x="30" y="43"/>
                    <a:pt x="37" y="27"/>
                    <a:pt x="60" y="27"/>
                  </a:cubicBezTo>
                  <a:cubicBezTo>
                    <a:pt x="82" y="27"/>
                    <a:pt x="129" y="28"/>
                    <a:pt x="163" y="28"/>
                  </a:cubicBezTo>
                  <a:cubicBezTo>
                    <a:pt x="175" y="28"/>
                    <a:pt x="188" y="28"/>
                    <a:pt x="200" y="28"/>
                  </a:cubicBezTo>
                  <a:cubicBezTo>
                    <a:pt x="206" y="28"/>
                    <a:pt x="212" y="28"/>
                    <a:pt x="218" y="28"/>
                  </a:cubicBezTo>
                  <a:cubicBezTo>
                    <a:pt x="225" y="28"/>
                    <a:pt x="231" y="28"/>
                    <a:pt x="237" y="29"/>
                  </a:cubicBezTo>
                  <a:cubicBezTo>
                    <a:pt x="262" y="31"/>
                    <a:pt x="285" y="38"/>
                    <a:pt x="306" y="47"/>
                  </a:cubicBezTo>
                  <a:cubicBezTo>
                    <a:pt x="327" y="56"/>
                    <a:pt x="346" y="68"/>
                    <a:pt x="362" y="81"/>
                  </a:cubicBezTo>
                  <a:cubicBezTo>
                    <a:pt x="366" y="85"/>
                    <a:pt x="370" y="88"/>
                    <a:pt x="373" y="92"/>
                  </a:cubicBezTo>
                  <a:cubicBezTo>
                    <a:pt x="377" y="95"/>
                    <a:pt x="381" y="99"/>
                    <a:pt x="384" y="102"/>
                  </a:cubicBezTo>
                  <a:cubicBezTo>
                    <a:pt x="391" y="109"/>
                    <a:pt x="398" y="115"/>
                    <a:pt x="405" y="122"/>
                  </a:cubicBezTo>
                  <a:cubicBezTo>
                    <a:pt x="458" y="173"/>
                    <a:pt x="499" y="213"/>
                    <a:pt x="523" y="238"/>
                  </a:cubicBezTo>
                  <a:cubicBezTo>
                    <a:pt x="531" y="245"/>
                    <a:pt x="536" y="251"/>
                    <a:pt x="539" y="255"/>
                  </a:cubicBezTo>
                  <a:cubicBezTo>
                    <a:pt x="546" y="263"/>
                    <a:pt x="545" y="263"/>
                    <a:pt x="536" y="256"/>
                  </a:cubicBezTo>
                  <a:cubicBezTo>
                    <a:pt x="531" y="252"/>
                    <a:pt x="525" y="247"/>
                    <a:pt x="516" y="240"/>
                  </a:cubicBezTo>
                  <a:cubicBezTo>
                    <a:pt x="507" y="233"/>
                    <a:pt x="458" y="189"/>
                    <a:pt x="393" y="129"/>
                  </a:cubicBezTo>
                  <a:cubicBezTo>
                    <a:pt x="383" y="119"/>
                    <a:pt x="372" y="109"/>
                    <a:pt x="361" y="99"/>
                  </a:cubicBezTo>
                  <a:cubicBezTo>
                    <a:pt x="350" y="89"/>
                    <a:pt x="339" y="81"/>
                    <a:pt x="326" y="73"/>
                  </a:cubicBezTo>
                  <a:cubicBezTo>
                    <a:pt x="302" y="59"/>
                    <a:pt x="274" y="49"/>
                    <a:pt x="245" y="45"/>
                  </a:cubicBezTo>
                  <a:cubicBezTo>
                    <a:pt x="238" y="44"/>
                    <a:pt x="230" y="44"/>
                    <a:pt x="223" y="43"/>
                  </a:cubicBezTo>
                  <a:cubicBezTo>
                    <a:pt x="216" y="43"/>
                    <a:pt x="208" y="43"/>
                    <a:pt x="200" y="43"/>
                  </a:cubicBezTo>
                  <a:cubicBezTo>
                    <a:pt x="185" y="43"/>
                    <a:pt x="170" y="43"/>
                    <a:pt x="155" y="43"/>
                  </a:cubicBezTo>
                  <a:cubicBezTo>
                    <a:pt x="125" y="44"/>
                    <a:pt x="72" y="44"/>
                    <a:pt x="67" y="44"/>
                  </a:cubicBezTo>
                  <a:cubicBezTo>
                    <a:pt x="59" y="44"/>
                    <a:pt x="54" y="45"/>
                    <a:pt x="51" y="48"/>
                  </a:cubicBezTo>
                  <a:cubicBezTo>
                    <a:pt x="46" y="53"/>
                    <a:pt x="47" y="57"/>
                    <a:pt x="47" y="64"/>
                  </a:cubicBezTo>
                  <a:cubicBezTo>
                    <a:pt x="47" y="83"/>
                    <a:pt x="47" y="185"/>
                    <a:pt x="47" y="245"/>
                  </a:cubicBezTo>
                  <a:cubicBezTo>
                    <a:pt x="48" y="306"/>
                    <a:pt x="48" y="366"/>
                    <a:pt x="48" y="426"/>
                  </a:cubicBezTo>
                  <a:cubicBezTo>
                    <a:pt x="49" y="499"/>
                    <a:pt x="49" y="579"/>
                    <a:pt x="49" y="657"/>
                  </a:cubicBezTo>
                  <a:cubicBezTo>
                    <a:pt x="49" y="676"/>
                    <a:pt x="49" y="695"/>
                    <a:pt x="48" y="714"/>
                  </a:cubicBezTo>
                  <a:cubicBezTo>
                    <a:pt x="48" y="724"/>
                    <a:pt x="48" y="733"/>
                    <a:pt x="48" y="743"/>
                  </a:cubicBezTo>
                  <a:cubicBezTo>
                    <a:pt x="48" y="747"/>
                    <a:pt x="48" y="752"/>
                    <a:pt x="48" y="757"/>
                  </a:cubicBezTo>
                  <a:cubicBezTo>
                    <a:pt x="48" y="761"/>
                    <a:pt x="48" y="765"/>
                    <a:pt x="49" y="769"/>
                  </a:cubicBezTo>
                  <a:cubicBezTo>
                    <a:pt x="51" y="785"/>
                    <a:pt x="58" y="800"/>
                    <a:pt x="67" y="813"/>
                  </a:cubicBezTo>
                  <a:cubicBezTo>
                    <a:pt x="77" y="826"/>
                    <a:pt x="88" y="836"/>
                    <a:pt x="101" y="845"/>
                  </a:cubicBezTo>
                  <a:cubicBezTo>
                    <a:pt x="114" y="855"/>
                    <a:pt x="130" y="862"/>
                    <a:pt x="146" y="868"/>
                  </a:cubicBezTo>
                  <a:cubicBezTo>
                    <a:pt x="154" y="870"/>
                    <a:pt x="162" y="872"/>
                    <a:pt x="170" y="873"/>
                  </a:cubicBezTo>
                  <a:cubicBezTo>
                    <a:pt x="175" y="874"/>
                    <a:pt x="179" y="874"/>
                    <a:pt x="183" y="874"/>
                  </a:cubicBezTo>
                  <a:cubicBezTo>
                    <a:pt x="187" y="874"/>
                    <a:pt x="192" y="874"/>
                    <a:pt x="196" y="874"/>
                  </a:cubicBezTo>
                  <a:cubicBezTo>
                    <a:pt x="213" y="874"/>
                    <a:pt x="233" y="874"/>
                    <a:pt x="245" y="873"/>
                  </a:cubicBezTo>
                  <a:cubicBezTo>
                    <a:pt x="247" y="872"/>
                    <a:pt x="249" y="872"/>
                    <a:pt x="251" y="872"/>
                  </a:cubicBezTo>
                  <a:cubicBezTo>
                    <a:pt x="252" y="871"/>
                    <a:pt x="254" y="871"/>
                    <a:pt x="256" y="870"/>
                  </a:cubicBezTo>
                  <a:cubicBezTo>
                    <a:pt x="259" y="868"/>
                    <a:pt x="260" y="864"/>
                    <a:pt x="261" y="861"/>
                  </a:cubicBezTo>
                  <a:cubicBezTo>
                    <a:pt x="261" y="857"/>
                    <a:pt x="261" y="854"/>
                    <a:pt x="261" y="850"/>
                  </a:cubicBezTo>
                  <a:cubicBezTo>
                    <a:pt x="261" y="839"/>
                    <a:pt x="261" y="839"/>
                    <a:pt x="261" y="839"/>
                  </a:cubicBezTo>
                  <a:cubicBezTo>
                    <a:pt x="261" y="808"/>
                    <a:pt x="262" y="781"/>
                    <a:pt x="262" y="757"/>
                  </a:cubicBezTo>
                  <a:cubicBezTo>
                    <a:pt x="263" y="743"/>
                    <a:pt x="263" y="729"/>
                    <a:pt x="264" y="717"/>
                  </a:cubicBezTo>
                  <a:cubicBezTo>
                    <a:pt x="265" y="704"/>
                    <a:pt x="267" y="713"/>
                    <a:pt x="269" y="740"/>
                  </a:cubicBezTo>
                  <a:cubicBezTo>
                    <a:pt x="269" y="749"/>
                    <a:pt x="270" y="761"/>
                    <a:pt x="270" y="774"/>
                  </a:cubicBezTo>
                  <a:cubicBezTo>
                    <a:pt x="271" y="786"/>
                    <a:pt x="271" y="799"/>
                    <a:pt x="271" y="813"/>
                  </a:cubicBezTo>
                  <a:cubicBezTo>
                    <a:pt x="271" y="820"/>
                    <a:pt x="272" y="827"/>
                    <a:pt x="272" y="835"/>
                  </a:cubicBezTo>
                  <a:close/>
                  <a:moveTo>
                    <a:pt x="1650" y="852"/>
                  </a:moveTo>
                  <a:cubicBezTo>
                    <a:pt x="1651" y="853"/>
                    <a:pt x="1649" y="854"/>
                    <a:pt x="1645" y="852"/>
                  </a:cubicBezTo>
                  <a:cubicBezTo>
                    <a:pt x="1641" y="851"/>
                    <a:pt x="1635" y="848"/>
                    <a:pt x="1627" y="843"/>
                  </a:cubicBezTo>
                  <a:cubicBezTo>
                    <a:pt x="1619" y="838"/>
                    <a:pt x="1610" y="831"/>
                    <a:pt x="1600" y="820"/>
                  </a:cubicBezTo>
                  <a:cubicBezTo>
                    <a:pt x="1593" y="812"/>
                    <a:pt x="1587" y="803"/>
                    <a:pt x="1581" y="792"/>
                  </a:cubicBezTo>
                  <a:cubicBezTo>
                    <a:pt x="1579" y="786"/>
                    <a:pt x="1577" y="780"/>
                    <a:pt x="1575" y="774"/>
                  </a:cubicBezTo>
                  <a:cubicBezTo>
                    <a:pt x="1574" y="770"/>
                    <a:pt x="1574" y="767"/>
                    <a:pt x="1574" y="763"/>
                  </a:cubicBezTo>
                  <a:cubicBezTo>
                    <a:pt x="1573" y="761"/>
                    <a:pt x="1573" y="759"/>
                    <a:pt x="1573" y="758"/>
                  </a:cubicBezTo>
                  <a:cubicBezTo>
                    <a:pt x="1573" y="756"/>
                    <a:pt x="1573" y="754"/>
                    <a:pt x="1573" y="752"/>
                  </a:cubicBezTo>
                  <a:cubicBezTo>
                    <a:pt x="1572" y="729"/>
                    <a:pt x="1571" y="702"/>
                    <a:pt x="1570" y="672"/>
                  </a:cubicBezTo>
                  <a:cubicBezTo>
                    <a:pt x="1570" y="657"/>
                    <a:pt x="1570" y="641"/>
                    <a:pt x="1569" y="624"/>
                  </a:cubicBezTo>
                  <a:cubicBezTo>
                    <a:pt x="1569" y="620"/>
                    <a:pt x="1569" y="616"/>
                    <a:pt x="1569" y="611"/>
                  </a:cubicBezTo>
                  <a:cubicBezTo>
                    <a:pt x="1569" y="609"/>
                    <a:pt x="1569" y="607"/>
                    <a:pt x="1569" y="605"/>
                  </a:cubicBezTo>
                  <a:cubicBezTo>
                    <a:pt x="1568" y="603"/>
                    <a:pt x="1568" y="601"/>
                    <a:pt x="1568" y="599"/>
                  </a:cubicBezTo>
                  <a:cubicBezTo>
                    <a:pt x="1567" y="591"/>
                    <a:pt x="1565" y="583"/>
                    <a:pt x="1562" y="575"/>
                  </a:cubicBezTo>
                  <a:cubicBezTo>
                    <a:pt x="1557" y="559"/>
                    <a:pt x="1547" y="544"/>
                    <a:pt x="1534" y="532"/>
                  </a:cubicBezTo>
                  <a:cubicBezTo>
                    <a:pt x="1521" y="519"/>
                    <a:pt x="1504" y="510"/>
                    <a:pt x="1485" y="506"/>
                  </a:cubicBezTo>
                  <a:cubicBezTo>
                    <a:pt x="1480" y="505"/>
                    <a:pt x="1476" y="504"/>
                    <a:pt x="1471" y="504"/>
                  </a:cubicBezTo>
                  <a:cubicBezTo>
                    <a:pt x="1466" y="503"/>
                    <a:pt x="1461" y="503"/>
                    <a:pt x="1456" y="503"/>
                  </a:cubicBezTo>
                  <a:cubicBezTo>
                    <a:pt x="1446" y="504"/>
                    <a:pt x="1435" y="505"/>
                    <a:pt x="1425" y="507"/>
                  </a:cubicBezTo>
                  <a:cubicBezTo>
                    <a:pt x="1404" y="512"/>
                    <a:pt x="1383" y="519"/>
                    <a:pt x="1363" y="530"/>
                  </a:cubicBezTo>
                  <a:cubicBezTo>
                    <a:pt x="1343" y="541"/>
                    <a:pt x="1323" y="555"/>
                    <a:pt x="1304" y="570"/>
                  </a:cubicBezTo>
                  <a:cubicBezTo>
                    <a:pt x="1284" y="585"/>
                    <a:pt x="1266" y="603"/>
                    <a:pt x="1247" y="621"/>
                  </a:cubicBezTo>
                  <a:cubicBezTo>
                    <a:pt x="1228" y="639"/>
                    <a:pt x="1208" y="658"/>
                    <a:pt x="1187" y="677"/>
                  </a:cubicBezTo>
                  <a:cubicBezTo>
                    <a:pt x="1167" y="696"/>
                    <a:pt x="1146" y="715"/>
                    <a:pt x="1125" y="735"/>
                  </a:cubicBezTo>
                  <a:cubicBezTo>
                    <a:pt x="1103" y="754"/>
                    <a:pt x="1081" y="774"/>
                    <a:pt x="1056" y="793"/>
                  </a:cubicBezTo>
                  <a:cubicBezTo>
                    <a:pt x="1044" y="802"/>
                    <a:pt x="1030" y="811"/>
                    <a:pt x="1016" y="819"/>
                  </a:cubicBezTo>
                  <a:cubicBezTo>
                    <a:pt x="1002" y="827"/>
                    <a:pt x="986" y="833"/>
                    <a:pt x="970" y="838"/>
                  </a:cubicBezTo>
                  <a:cubicBezTo>
                    <a:pt x="953" y="843"/>
                    <a:pt x="935" y="845"/>
                    <a:pt x="918" y="845"/>
                  </a:cubicBezTo>
                  <a:cubicBezTo>
                    <a:pt x="900" y="844"/>
                    <a:pt x="882" y="841"/>
                    <a:pt x="865" y="836"/>
                  </a:cubicBezTo>
                  <a:cubicBezTo>
                    <a:pt x="848" y="830"/>
                    <a:pt x="833" y="822"/>
                    <a:pt x="818" y="814"/>
                  </a:cubicBezTo>
                  <a:cubicBezTo>
                    <a:pt x="803" y="805"/>
                    <a:pt x="789" y="795"/>
                    <a:pt x="775" y="785"/>
                  </a:cubicBezTo>
                  <a:cubicBezTo>
                    <a:pt x="749" y="765"/>
                    <a:pt x="724" y="742"/>
                    <a:pt x="699" y="720"/>
                  </a:cubicBezTo>
                  <a:cubicBezTo>
                    <a:pt x="686" y="709"/>
                    <a:pt x="674" y="698"/>
                    <a:pt x="661" y="687"/>
                  </a:cubicBezTo>
                  <a:cubicBezTo>
                    <a:pt x="655" y="681"/>
                    <a:pt x="649" y="675"/>
                    <a:pt x="642" y="670"/>
                  </a:cubicBezTo>
                  <a:cubicBezTo>
                    <a:pt x="636" y="664"/>
                    <a:pt x="629" y="658"/>
                    <a:pt x="623" y="652"/>
                  </a:cubicBezTo>
                  <a:cubicBezTo>
                    <a:pt x="598" y="629"/>
                    <a:pt x="573" y="606"/>
                    <a:pt x="547" y="585"/>
                  </a:cubicBezTo>
                  <a:cubicBezTo>
                    <a:pt x="521" y="564"/>
                    <a:pt x="494" y="545"/>
                    <a:pt x="464" y="532"/>
                  </a:cubicBezTo>
                  <a:cubicBezTo>
                    <a:pt x="450" y="526"/>
                    <a:pt x="435" y="521"/>
                    <a:pt x="419" y="519"/>
                  </a:cubicBezTo>
                  <a:cubicBezTo>
                    <a:pt x="411" y="517"/>
                    <a:pt x="404" y="516"/>
                    <a:pt x="396" y="516"/>
                  </a:cubicBezTo>
                  <a:cubicBezTo>
                    <a:pt x="392" y="516"/>
                    <a:pt x="388" y="515"/>
                    <a:pt x="384" y="516"/>
                  </a:cubicBezTo>
                  <a:cubicBezTo>
                    <a:pt x="381" y="516"/>
                    <a:pt x="377" y="516"/>
                    <a:pt x="374" y="516"/>
                  </a:cubicBezTo>
                  <a:cubicBezTo>
                    <a:pt x="360" y="518"/>
                    <a:pt x="346" y="524"/>
                    <a:pt x="335" y="532"/>
                  </a:cubicBezTo>
                  <a:cubicBezTo>
                    <a:pt x="323" y="540"/>
                    <a:pt x="313" y="551"/>
                    <a:pt x="306" y="563"/>
                  </a:cubicBezTo>
                  <a:cubicBezTo>
                    <a:pt x="299" y="576"/>
                    <a:pt x="295" y="590"/>
                    <a:pt x="294" y="604"/>
                  </a:cubicBezTo>
                  <a:cubicBezTo>
                    <a:pt x="294" y="606"/>
                    <a:pt x="294" y="607"/>
                    <a:pt x="294" y="609"/>
                  </a:cubicBezTo>
                  <a:cubicBezTo>
                    <a:pt x="294" y="616"/>
                    <a:pt x="294" y="616"/>
                    <a:pt x="294" y="616"/>
                  </a:cubicBezTo>
                  <a:cubicBezTo>
                    <a:pt x="294" y="630"/>
                    <a:pt x="294" y="630"/>
                    <a:pt x="294" y="630"/>
                  </a:cubicBezTo>
                  <a:cubicBezTo>
                    <a:pt x="294" y="639"/>
                    <a:pt x="294" y="648"/>
                    <a:pt x="294" y="657"/>
                  </a:cubicBezTo>
                  <a:cubicBezTo>
                    <a:pt x="294" y="694"/>
                    <a:pt x="294" y="731"/>
                    <a:pt x="294" y="768"/>
                  </a:cubicBezTo>
                  <a:cubicBezTo>
                    <a:pt x="294" y="786"/>
                    <a:pt x="294" y="805"/>
                    <a:pt x="294" y="823"/>
                  </a:cubicBezTo>
                  <a:cubicBezTo>
                    <a:pt x="294" y="837"/>
                    <a:pt x="294" y="837"/>
                    <a:pt x="294" y="837"/>
                  </a:cubicBezTo>
                  <a:cubicBezTo>
                    <a:pt x="294" y="841"/>
                    <a:pt x="294" y="841"/>
                    <a:pt x="294" y="841"/>
                  </a:cubicBezTo>
                  <a:cubicBezTo>
                    <a:pt x="294" y="843"/>
                    <a:pt x="294" y="843"/>
                    <a:pt x="294" y="843"/>
                  </a:cubicBezTo>
                  <a:cubicBezTo>
                    <a:pt x="294" y="846"/>
                    <a:pt x="294" y="846"/>
                    <a:pt x="294" y="846"/>
                  </a:cubicBezTo>
                  <a:cubicBezTo>
                    <a:pt x="294" y="857"/>
                    <a:pt x="294" y="857"/>
                    <a:pt x="294" y="857"/>
                  </a:cubicBezTo>
                  <a:cubicBezTo>
                    <a:pt x="294" y="861"/>
                    <a:pt x="294" y="865"/>
                    <a:pt x="293" y="868"/>
                  </a:cubicBezTo>
                  <a:cubicBezTo>
                    <a:pt x="293" y="872"/>
                    <a:pt x="292" y="875"/>
                    <a:pt x="291" y="879"/>
                  </a:cubicBezTo>
                  <a:cubicBezTo>
                    <a:pt x="289" y="885"/>
                    <a:pt x="285" y="891"/>
                    <a:pt x="279" y="896"/>
                  </a:cubicBezTo>
                  <a:cubicBezTo>
                    <a:pt x="268" y="904"/>
                    <a:pt x="252" y="906"/>
                    <a:pt x="237" y="907"/>
                  </a:cubicBezTo>
                  <a:cubicBezTo>
                    <a:pt x="228" y="908"/>
                    <a:pt x="228" y="908"/>
                    <a:pt x="228" y="908"/>
                  </a:cubicBezTo>
                  <a:cubicBezTo>
                    <a:pt x="221" y="908"/>
                    <a:pt x="221" y="908"/>
                    <a:pt x="221" y="908"/>
                  </a:cubicBezTo>
                  <a:cubicBezTo>
                    <a:pt x="216" y="908"/>
                    <a:pt x="211" y="908"/>
                    <a:pt x="206" y="908"/>
                  </a:cubicBezTo>
                  <a:cubicBezTo>
                    <a:pt x="192" y="908"/>
                    <a:pt x="192" y="908"/>
                    <a:pt x="192" y="908"/>
                  </a:cubicBezTo>
                  <a:cubicBezTo>
                    <a:pt x="184" y="908"/>
                    <a:pt x="184" y="908"/>
                    <a:pt x="184" y="908"/>
                  </a:cubicBezTo>
                  <a:cubicBezTo>
                    <a:pt x="182" y="908"/>
                    <a:pt x="179" y="908"/>
                    <a:pt x="176" y="908"/>
                  </a:cubicBezTo>
                  <a:cubicBezTo>
                    <a:pt x="165" y="907"/>
                    <a:pt x="154" y="905"/>
                    <a:pt x="144" y="902"/>
                  </a:cubicBezTo>
                  <a:cubicBezTo>
                    <a:pt x="123" y="897"/>
                    <a:pt x="103" y="888"/>
                    <a:pt x="85" y="876"/>
                  </a:cubicBezTo>
                  <a:cubicBezTo>
                    <a:pt x="67" y="865"/>
                    <a:pt x="50" y="850"/>
                    <a:pt x="37" y="831"/>
                  </a:cubicBezTo>
                  <a:cubicBezTo>
                    <a:pt x="31" y="822"/>
                    <a:pt x="25" y="812"/>
                    <a:pt x="21" y="801"/>
                  </a:cubicBezTo>
                  <a:cubicBezTo>
                    <a:pt x="17" y="790"/>
                    <a:pt x="14" y="778"/>
                    <a:pt x="13" y="766"/>
                  </a:cubicBezTo>
                  <a:cubicBezTo>
                    <a:pt x="13" y="762"/>
                    <a:pt x="13" y="762"/>
                    <a:pt x="13" y="762"/>
                  </a:cubicBezTo>
                  <a:cubicBezTo>
                    <a:pt x="13" y="757"/>
                    <a:pt x="13" y="757"/>
                    <a:pt x="13" y="757"/>
                  </a:cubicBezTo>
                  <a:cubicBezTo>
                    <a:pt x="13" y="750"/>
                    <a:pt x="13" y="750"/>
                    <a:pt x="13" y="750"/>
                  </a:cubicBezTo>
                  <a:cubicBezTo>
                    <a:pt x="13" y="736"/>
                    <a:pt x="13" y="736"/>
                    <a:pt x="13" y="736"/>
                  </a:cubicBezTo>
                  <a:cubicBezTo>
                    <a:pt x="13" y="708"/>
                    <a:pt x="13" y="708"/>
                    <a:pt x="13" y="708"/>
                  </a:cubicBezTo>
                  <a:cubicBezTo>
                    <a:pt x="13" y="557"/>
                    <a:pt x="14" y="405"/>
                    <a:pt x="15" y="256"/>
                  </a:cubicBezTo>
                  <a:cubicBezTo>
                    <a:pt x="15" y="186"/>
                    <a:pt x="16" y="76"/>
                    <a:pt x="16" y="51"/>
                  </a:cubicBezTo>
                  <a:cubicBezTo>
                    <a:pt x="16" y="46"/>
                    <a:pt x="17" y="41"/>
                    <a:pt x="17" y="37"/>
                  </a:cubicBezTo>
                  <a:cubicBezTo>
                    <a:pt x="20" y="27"/>
                    <a:pt x="28" y="13"/>
                    <a:pt x="54" y="13"/>
                  </a:cubicBezTo>
                  <a:cubicBezTo>
                    <a:pt x="60" y="13"/>
                    <a:pt x="66" y="13"/>
                    <a:pt x="73" y="13"/>
                  </a:cubicBezTo>
                  <a:cubicBezTo>
                    <a:pt x="101" y="13"/>
                    <a:pt x="140" y="14"/>
                    <a:pt x="170" y="14"/>
                  </a:cubicBezTo>
                  <a:cubicBezTo>
                    <a:pt x="188" y="14"/>
                    <a:pt x="205" y="14"/>
                    <a:pt x="222" y="14"/>
                  </a:cubicBezTo>
                  <a:cubicBezTo>
                    <a:pt x="224" y="14"/>
                    <a:pt x="226" y="14"/>
                    <a:pt x="229" y="14"/>
                  </a:cubicBezTo>
                  <a:cubicBezTo>
                    <a:pt x="231" y="15"/>
                    <a:pt x="233" y="15"/>
                    <a:pt x="236" y="15"/>
                  </a:cubicBezTo>
                  <a:cubicBezTo>
                    <a:pt x="240" y="15"/>
                    <a:pt x="245" y="16"/>
                    <a:pt x="249" y="17"/>
                  </a:cubicBezTo>
                  <a:cubicBezTo>
                    <a:pt x="258" y="18"/>
                    <a:pt x="267" y="20"/>
                    <a:pt x="276" y="22"/>
                  </a:cubicBezTo>
                  <a:cubicBezTo>
                    <a:pt x="311" y="31"/>
                    <a:pt x="343" y="48"/>
                    <a:pt x="370" y="70"/>
                  </a:cubicBezTo>
                  <a:cubicBezTo>
                    <a:pt x="373" y="72"/>
                    <a:pt x="376" y="75"/>
                    <a:pt x="379" y="78"/>
                  </a:cubicBezTo>
                  <a:cubicBezTo>
                    <a:pt x="384" y="83"/>
                    <a:pt x="384" y="83"/>
                    <a:pt x="384" y="83"/>
                  </a:cubicBezTo>
                  <a:cubicBezTo>
                    <a:pt x="388" y="87"/>
                    <a:pt x="388" y="87"/>
                    <a:pt x="388" y="87"/>
                  </a:cubicBezTo>
                  <a:cubicBezTo>
                    <a:pt x="394" y="92"/>
                    <a:pt x="400" y="97"/>
                    <a:pt x="405" y="103"/>
                  </a:cubicBezTo>
                  <a:cubicBezTo>
                    <a:pt x="417" y="114"/>
                    <a:pt x="428" y="124"/>
                    <a:pt x="439" y="135"/>
                  </a:cubicBezTo>
                  <a:cubicBezTo>
                    <a:pt x="461" y="156"/>
                    <a:pt x="482" y="177"/>
                    <a:pt x="503" y="197"/>
                  </a:cubicBezTo>
                  <a:cubicBezTo>
                    <a:pt x="524" y="217"/>
                    <a:pt x="545" y="237"/>
                    <a:pt x="565" y="256"/>
                  </a:cubicBezTo>
                  <a:cubicBezTo>
                    <a:pt x="567" y="258"/>
                    <a:pt x="570" y="261"/>
                    <a:pt x="572" y="263"/>
                  </a:cubicBezTo>
                  <a:cubicBezTo>
                    <a:pt x="576" y="267"/>
                    <a:pt x="576" y="267"/>
                    <a:pt x="576" y="267"/>
                  </a:cubicBezTo>
                  <a:cubicBezTo>
                    <a:pt x="578" y="268"/>
                    <a:pt x="579" y="269"/>
                    <a:pt x="580" y="270"/>
                  </a:cubicBezTo>
                  <a:cubicBezTo>
                    <a:pt x="585" y="275"/>
                    <a:pt x="589" y="280"/>
                    <a:pt x="594" y="284"/>
                  </a:cubicBezTo>
                  <a:cubicBezTo>
                    <a:pt x="604" y="293"/>
                    <a:pt x="614" y="301"/>
                    <a:pt x="624" y="309"/>
                  </a:cubicBezTo>
                  <a:cubicBezTo>
                    <a:pt x="664" y="340"/>
                    <a:pt x="707" y="363"/>
                    <a:pt x="749" y="379"/>
                  </a:cubicBezTo>
                  <a:cubicBezTo>
                    <a:pt x="791" y="395"/>
                    <a:pt x="833" y="404"/>
                    <a:pt x="872" y="409"/>
                  </a:cubicBezTo>
                  <a:cubicBezTo>
                    <a:pt x="911" y="413"/>
                    <a:pt x="948" y="413"/>
                    <a:pt x="980" y="410"/>
                  </a:cubicBezTo>
                  <a:cubicBezTo>
                    <a:pt x="1046" y="405"/>
                    <a:pt x="1097" y="389"/>
                    <a:pt x="1133" y="375"/>
                  </a:cubicBezTo>
                  <a:cubicBezTo>
                    <a:pt x="1156" y="366"/>
                    <a:pt x="1173" y="358"/>
                    <a:pt x="1183" y="353"/>
                  </a:cubicBezTo>
                  <a:cubicBezTo>
                    <a:pt x="1194" y="348"/>
                    <a:pt x="1199" y="347"/>
                    <a:pt x="1199" y="348"/>
                  </a:cubicBezTo>
                  <a:cubicBezTo>
                    <a:pt x="1199" y="350"/>
                    <a:pt x="1193" y="355"/>
                    <a:pt x="1183" y="362"/>
                  </a:cubicBezTo>
                  <a:cubicBezTo>
                    <a:pt x="1172" y="370"/>
                    <a:pt x="1155" y="380"/>
                    <a:pt x="1131" y="392"/>
                  </a:cubicBezTo>
                  <a:cubicBezTo>
                    <a:pt x="1125" y="395"/>
                    <a:pt x="1112" y="402"/>
                    <a:pt x="1092" y="409"/>
                  </a:cubicBezTo>
                  <a:cubicBezTo>
                    <a:pt x="1071" y="417"/>
                    <a:pt x="1043" y="426"/>
                    <a:pt x="1008" y="432"/>
                  </a:cubicBezTo>
                  <a:cubicBezTo>
                    <a:pt x="973" y="438"/>
                    <a:pt x="931" y="442"/>
                    <a:pt x="883" y="439"/>
                  </a:cubicBezTo>
                  <a:cubicBezTo>
                    <a:pt x="836" y="436"/>
                    <a:pt x="783" y="427"/>
                    <a:pt x="729" y="407"/>
                  </a:cubicBezTo>
                  <a:cubicBezTo>
                    <a:pt x="669" y="385"/>
                    <a:pt x="612" y="350"/>
                    <a:pt x="563" y="305"/>
                  </a:cubicBezTo>
                  <a:cubicBezTo>
                    <a:pt x="560" y="302"/>
                    <a:pt x="557" y="299"/>
                    <a:pt x="554" y="296"/>
                  </a:cubicBezTo>
                  <a:cubicBezTo>
                    <a:pt x="552" y="294"/>
                    <a:pt x="552" y="294"/>
                    <a:pt x="552" y="294"/>
                  </a:cubicBezTo>
                  <a:cubicBezTo>
                    <a:pt x="550" y="292"/>
                    <a:pt x="550" y="292"/>
                    <a:pt x="550" y="292"/>
                  </a:cubicBezTo>
                  <a:cubicBezTo>
                    <a:pt x="545" y="288"/>
                    <a:pt x="545" y="288"/>
                    <a:pt x="545" y="288"/>
                  </a:cubicBezTo>
                  <a:cubicBezTo>
                    <a:pt x="539" y="283"/>
                    <a:pt x="534" y="277"/>
                    <a:pt x="528" y="272"/>
                  </a:cubicBezTo>
                  <a:cubicBezTo>
                    <a:pt x="516" y="260"/>
                    <a:pt x="504" y="249"/>
                    <a:pt x="492" y="238"/>
                  </a:cubicBezTo>
                  <a:cubicBezTo>
                    <a:pt x="468" y="216"/>
                    <a:pt x="444" y="193"/>
                    <a:pt x="419" y="171"/>
                  </a:cubicBezTo>
                  <a:cubicBezTo>
                    <a:pt x="407" y="159"/>
                    <a:pt x="395" y="148"/>
                    <a:pt x="383" y="136"/>
                  </a:cubicBezTo>
                  <a:cubicBezTo>
                    <a:pt x="377" y="131"/>
                    <a:pt x="370" y="125"/>
                    <a:pt x="364" y="119"/>
                  </a:cubicBezTo>
                  <a:cubicBezTo>
                    <a:pt x="355" y="111"/>
                    <a:pt x="355" y="111"/>
                    <a:pt x="355" y="111"/>
                  </a:cubicBezTo>
                  <a:cubicBezTo>
                    <a:pt x="353" y="109"/>
                    <a:pt x="353" y="109"/>
                    <a:pt x="353" y="109"/>
                  </a:cubicBezTo>
                  <a:cubicBezTo>
                    <a:pt x="351" y="107"/>
                    <a:pt x="351" y="107"/>
                    <a:pt x="351" y="107"/>
                  </a:cubicBezTo>
                  <a:cubicBezTo>
                    <a:pt x="346" y="103"/>
                    <a:pt x="346" y="103"/>
                    <a:pt x="346" y="103"/>
                  </a:cubicBezTo>
                  <a:cubicBezTo>
                    <a:pt x="323" y="84"/>
                    <a:pt x="295" y="69"/>
                    <a:pt x="265" y="62"/>
                  </a:cubicBezTo>
                  <a:cubicBezTo>
                    <a:pt x="250" y="58"/>
                    <a:pt x="234" y="56"/>
                    <a:pt x="219" y="56"/>
                  </a:cubicBezTo>
                  <a:cubicBezTo>
                    <a:pt x="201" y="56"/>
                    <a:pt x="184" y="57"/>
                    <a:pt x="167" y="57"/>
                  </a:cubicBezTo>
                  <a:cubicBezTo>
                    <a:pt x="135" y="57"/>
                    <a:pt x="80" y="57"/>
                    <a:pt x="72" y="57"/>
                  </a:cubicBezTo>
                  <a:cubicBezTo>
                    <a:pt x="69" y="57"/>
                    <a:pt x="67" y="57"/>
                    <a:pt x="66" y="58"/>
                  </a:cubicBezTo>
                  <a:cubicBezTo>
                    <a:pt x="65" y="58"/>
                    <a:pt x="65" y="58"/>
                    <a:pt x="65" y="59"/>
                  </a:cubicBezTo>
                  <a:cubicBezTo>
                    <a:pt x="64" y="59"/>
                    <a:pt x="63" y="60"/>
                    <a:pt x="62" y="61"/>
                  </a:cubicBezTo>
                  <a:cubicBezTo>
                    <a:pt x="62" y="61"/>
                    <a:pt x="62" y="62"/>
                    <a:pt x="61" y="63"/>
                  </a:cubicBezTo>
                  <a:cubicBezTo>
                    <a:pt x="61" y="63"/>
                    <a:pt x="61" y="64"/>
                    <a:pt x="61" y="64"/>
                  </a:cubicBezTo>
                  <a:cubicBezTo>
                    <a:pt x="60" y="66"/>
                    <a:pt x="60" y="68"/>
                    <a:pt x="60" y="69"/>
                  </a:cubicBezTo>
                  <a:cubicBezTo>
                    <a:pt x="60" y="78"/>
                    <a:pt x="61" y="479"/>
                    <a:pt x="62" y="685"/>
                  </a:cubicBezTo>
                  <a:cubicBezTo>
                    <a:pt x="62" y="698"/>
                    <a:pt x="62" y="711"/>
                    <a:pt x="62" y="724"/>
                  </a:cubicBezTo>
                  <a:cubicBezTo>
                    <a:pt x="62" y="743"/>
                    <a:pt x="62" y="743"/>
                    <a:pt x="62" y="743"/>
                  </a:cubicBezTo>
                  <a:cubicBezTo>
                    <a:pt x="62" y="753"/>
                    <a:pt x="62" y="753"/>
                    <a:pt x="62" y="753"/>
                  </a:cubicBezTo>
                  <a:cubicBezTo>
                    <a:pt x="62" y="758"/>
                    <a:pt x="62" y="758"/>
                    <a:pt x="62" y="758"/>
                  </a:cubicBezTo>
                  <a:cubicBezTo>
                    <a:pt x="62" y="759"/>
                    <a:pt x="62" y="760"/>
                    <a:pt x="62" y="761"/>
                  </a:cubicBezTo>
                  <a:cubicBezTo>
                    <a:pt x="63" y="780"/>
                    <a:pt x="73" y="799"/>
                    <a:pt x="88" y="815"/>
                  </a:cubicBezTo>
                  <a:cubicBezTo>
                    <a:pt x="103" y="830"/>
                    <a:pt x="123" y="842"/>
                    <a:pt x="144" y="850"/>
                  </a:cubicBezTo>
                  <a:cubicBezTo>
                    <a:pt x="154" y="853"/>
                    <a:pt x="165" y="856"/>
                    <a:pt x="176" y="857"/>
                  </a:cubicBezTo>
                  <a:cubicBezTo>
                    <a:pt x="178" y="857"/>
                    <a:pt x="181" y="857"/>
                    <a:pt x="183" y="858"/>
                  </a:cubicBezTo>
                  <a:cubicBezTo>
                    <a:pt x="185" y="858"/>
                    <a:pt x="186" y="858"/>
                    <a:pt x="187" y="858"/>
                  </a:cubicBezTo>
                  <a:cubicBezTo>
                    <a:pt x="192" y="858"/>
                    <a:pt x="192" y="858"/>
                    <a:pt x="192" y="858"/>
                  </a:cubicBezTo>
                  <a:cubicBezTo>
                    <a:pt x="199" y="858"/>
                    <a:pt x="205" y="857"/>
                    <a:pt x="211" y="857"/>
                  </a:cubicBezTo>
                  <a:cubicBezTo>
                    <a:pt x="217" y="857"/>
                    <a:pt x="223" y="857"/>
                    <a:pt x="229" y="857"/>
                  </a:cubicBezTo>
                  <a:cubicBezTo>
                    <a:pt x="232" y="856"/>
                    <a:pt x="232" y="856"/>
                    <a:pt x="232" y="856"/>
                  </a:cubicBezTo>
                  <a:cubicBezTo>
                    <a:pt x="233" y="856"/>
                    <a:pt x="233" y="856"/>
                    <a:pt x="233" y="856"/>
                  </a:cubicBezTo>
                  <a:cubicBezTo>
                    <a:pt x="234" y="856"/>
                    <a:pt x="236" y="856"/>
                    <a:pt x="237" y="856"/>
                  </a:cubicBezTo>
                  <a:cubicBezTo>
                    <a:pt x="238" y="856"/>
                    <a:pt x="239" y="855"/>
                    <a:pt x="240" y="855"/>
                  </a:cubicBezTo>
                  <a:cubicBezTo>
                    <a:pt x="241" y="855"/>
                    <a:pt x="242" y="854"/>
                    <a:pt x="242" y="853"/>
                  </a:cubicBezTo>
                  <a:cubicBezTo>
                    <a:pt x="243" y="851"/>
                    <a:pt x="243" y="848"/>
                    <a:pt x="243" y="846"/>
                  </a:cubicBezTo>
                  <a:cubicBezTo>
                    <a:pt x="243" y="823"/>
                    <a:pt x="243" y="800"/>
                    <a:pt x="243" y="777"/>
                  </a:cubicBezTo>
                  <a:cubicBezTo>
                    <a:pt x="242" y="726"/>
                    <a:pt x="242" y="676"/>
                    <a:pt x="242" y="626"/>
                  </a:cubicBezTo>
                  <a:cubicBezTo>
                    <a:pt x="242" y="619"/>
                    <a:pt x="242" y="613"/>
                    <a:pt x="242" y="606"/>
                  </a:cubicBezTo>
                  <a:cubicBezTo>
                    <a:pt x="242" y="598"/>
                    <a:pt x="243" y="591"/>
                    <a:pt x="244" y="583"/>
                  </a:cubicBezTo>
                  <a:cubicBezTo>
                    <a:pt x="247" y="568"/>
                    <a:pt x="252" y="553"/>
                    <a:pt x="260" y="539"/>
                  </a:cubicBezTo>
                  <a:cubicBezTo>
                    <a:pt x="275" y="511"/>
                    <a:pt x="299" y="488"/>
                    <a:pt x="328" y="475"/>
                  </a:cubicBezTo>
                  <a:cubicBezTo>
                    <a:pt x="343" y="469"/>
                    <a:pt x="359" y="465"/>
                    <a:pt x="375" y="463"/>
                  </a:cubicBezTo>
                  <a:cubicBezTo>
                    <a:pt x="379" y="463"/>
                    <a:pt x="383" y="463"/>
                    <a:pt x="387" y="463"/>
                  </a:cubicBezTo>
                  <a:cubicBezTo>
                    <a:pt x="391" y="463"/>
                    <a:pt x="394" y="463"/>
                    <a:pt x="398" y="463"/>
                  </a:cubicBezTo>
                  <a:cubicBezTo>
                    <a:pt x="405" y="464"/>
                    <a:pt x="413" y="464"/>
                    <a:pt x="420" y="466"/>
                  </a:cubicBezTo>
                  <a:cubicBezTo>
                    <a:pt x="449" y="470"/>
                    <a:pt x="478" y="480"/>
                    <a:pt x="503" y="493"/>
                  </a:cubicBezTo>
                  <a:cubicBezTo>
                    <a:pt x="529" y="506"/>
                    <a:pt x="552" y="522"/>
                    <a:pt x="573" y="539"/>
                  </a:cubicBezTo>
                  <a:cubicBezTo>
                    <a:pt x="595" y="556"/>
                    <a:pt x="615" y="575"/>
                    <a:pt x="634" y="593"/>
                  </a:cubicBezTo>
                  <a:cubicBezTo>
                    <a:pt x="643" y="602"/>
                    <a:pt x="653" y="610"/>
                    <a:pt x="662" y="619"/>
                  </a:cubicBezTo>
                  <a:cubicBezTo>
                    <a:pt x="676" y="632"/>
                    <a:pt x="676" y="632"/>
                    <a:pt x="676" y="632"/>
                  </a:cubicBezTo>
                  <a:cubicBezTo>
                    <a:pt x="681" y="637"/>
                    <a:pt x="686" y="641"/>
                    <a:pt x="691" y="645"/>
                  </a:cubicBezTo>
                  <a:cubicBezTo>
                    <a:pt x="710" y="663"/>
                    <a:pt x="729" y="680"/>
                    <a:pt x="748" y="698"/>
                  </a:cubicBezTo>
                  <a:cubicBezTo>
                    <a:pt x="767" y="715"/>
                    <a:pt x="785" y="731"/>
                    <a:pt x="804" y="746"/>
                  </a:cubicBezTo>
                  <a:cubicBezTo>
                    <a:pt x="823" y="761"/>
                    <a:pt x="842" y="774"/>
                    <a:pt x="862" y="783"/>
                  </a:cubicBezTo>
                  <a:cubicBezTo>
                    <a:pt x="882" y="793"/>
                    <a:pt x="902" y="798"/>
                    <a:pt x="922" y="799"/>
                  </a:cubicBezTo>
                  <a:cubicBezTo>
                    <a:pt x="942" y="799"/>
                    <a:pt x="962" y="795"/>
                    <a:pt x="981" y="786"/>
                  </a:cubicBezTo>
                  <a:cubicBezTo>
                    <a:pt x="1000" y="778"/>
                    <a:pt x="1018" y="767"/>
                    <a:pt x="1035" y="754"/>
                  </a:cubicBezTo>
                  <a:cubicBezTo>
                    <a:pt x="1053" y="742"/>
                    <a:pt x="1069" y="728"/>
                    <a:pt x="1085" y="714"/>
                  </a:cubicBezTo>
                  <a:cubicBezTo>
                    <a:pt x="1101" y="700"/>
                    <a:pt x="1117" y="686"/>
                    <a:pt x="1133" y="672"/>
                  </a:cubicBezTo>
                  <a:cubicBezTo>
                    <a:pt x="1140" y="666"/>
                    <a:pt x="1148" y="659"/>
                    <a:pt x="1156" y="652"/>
                  </a:cubicBezTo>
                  <a:cubicBezTo>
                    <a:pt x="1159" y="649"/>
                    <a:pt x="1163" y="646"/>
                    <a:pt x="1167" y="642"/>
                  </a:cubicBezTo>
                  <a:cubicBezTo>
                    <a:pt x="1171" y="639"/>
                    <a:pt x="1174" y="636"/>
                    <a:pt x="1178" y="633"/>
                  </a:cubicBezTo>
                  <a:cubicBezTo>
                    <a:pt x="1210" y="604"/>
                    <a:pt x="1242" y="573"/>
                    <a:pt x="1277" y="546"/>
                  </a:cubicBezTo>
                  <a:cubicBezTo>
                    <a:pt x="1295" y="532"/>
                    <a:pt x="1313" y="519"/>
                    <a:pt x="1333" y="508"/>
                  </a:cubicBezTo>
                  <a:cubicBezTo>
                    <a:pt x="1352" y="497"/>
                    <a:pt x="1373" y="488"/>
                    <a:pt x="1395" y="481"/>
                  </a:cubicBezTo>
                  <a:cubicBezTo>
                    <a:pt x="1417" y="475"/>
                    <a:pt x="1440" y="472"/>
                    <a:pt x="1463" y="472"/>
                  </a:cubicBezTo>
                  <a:cubicBezTo>
                    <a:pt x="1487" y="473"/>
                    <a:pt x="1511" y="481"/>
                    <a:pt x="1531" y="493"/>
                  </a:cubicBezTo>
                  <a:cubicBezTo>
                    <a:pt x="1551" y="506"/>
                    <a:pt x="1567" y="524"/>
                    <a:pt x="1578" y="544"/>
                  </a:cubicBezTo>
                  <a:cubicBezTo>
                    <a:pt x="1589" y="564"/>
                    <a:pt x="1594" y="587"/>
                    <a:pt x="1594" y="610"/>
                  </a:cubicBezTo>
                  <a:cubicBezTo>
                    <a:pt x="1593" y="644"/>
                    <a:pt x="1593" y="676"/>
                    <a:pt x="1592" y="706"/>
                  </a:cubicBezTo>
                  <a:cubicBezTo>
                    <a:pt x="1592" y="721"/>
                    <a:pt x="1592" y="735"/>
                    <a:pt x="1592" y="749"/>
                  </a:cubicBezTo>
                  <a:cubicBezTo>
                    <a:pt x="1592" y="752"/>
                    <a:pt x="1592" y="756"/>
                    <a:pt x="1591" y="759"/>
                  </a:cubicBezTo>
                  <a:cubicBezTo>
                    <a:pt x="1591" y="762"/>
                    <a:pt x="1592" y="764"/>
                    <a:pt x="1592" y="767"/>
                  </a:cubicBezTo>
                  <a:cubicBezTo>
                    <a:pt x="1592" y="773"/>
                    <a:pt x="1594" y="778"/>
                    <a:pt x="1595" y="783"/>
                  </a:cubicBezTo>
                  <a:cubicBezTo>
                    <a:pt x="1599" y="796"/>
                    <a:pt x="1606" y="808"/>
                    <a:pt x="1614" y="818"/>
                  </a:cubicBezTo>
                  <a:cubicBezTo>
                    <a:pt x="1623" y="828"/>
                    <a:pt x="1632" y="837"/>
                    <a:pt x="1642" y="844"/>
                  </a:cubicBezTo>
                  <a:cubicBezTo>
                    <a:pt x="1647" y="848"/>
                    <a:pt x="1649" y="851"/>
                    <a:pt x="1650" y="852"/>
                  </a:cubicBezTo>
                  <a:close/>
                  <a:moveTo>
                    <a:pt x="1301" y="542"/>
                  </a:moveTo>
                  <a:cubicBezTo>
                    <a:pt x="1281" y="555"/>
                    <a:pt x="1263" y="569"/>
                    <a:pt x="1239" y="590"/>
                  </a:cubicBezTo>
                  <a:cubicBezTo>
                    <a:pt x="1224" y="603"/>
                    <a:pt x="1205" y="620"/>
                    <a:pt x="1185" y="638"/>
                  </a:cubicBezTo>
                  <a:cubicBezTo>
                    <a:pt x="1180" y="642"/>
                    <a:pt x="1175" y="647"/>
                    <a:pt x="1170" y="651"/>
                  </a:cubicBezTo>
                  <a:cubicBezTo>
                    <a:pt x="1165" y="656"/>
                    <a:pt x="1159" y="661"/>
                    <a:pt x="1154" y="665"/>
                  </a:cubicBezTo>
                  <a:cubicBezTo>
                    <a:pt x="1143" y="675"/>
                    <a:pt x="1131" y="685"/>
                    <a:pt x="1120" y="695"/>
                  </a:cubicBezTo>
                  <a:cubicBezTo>
                    <a:pt x="1094" y="718"/>
                    <a:pt x="1068" y="742"/>
                    <a:pt x="1040" y="762"/>
                  </a:cubicBezTo>
                  <a:cubicBezTo>
                    <a:pt x="1012" y="782"/>
                    <a:pt x="982" y="799"/>
                    <a:pt x="950" y="805"/>
                  </a:cubicBezTo>
                  <a:cubicBezTo>
                    <a:pt x="934" y="809"/>
                    <a:pt x="918" y="809"/>
                    <a:pt x="902" y="806"/>
                  </a:cubicBezTo>
                  <a:cubicBezTo>
                    <a:pt x="886" y="803"/>
                    <a:pt x="870" y="797"/>
                    <a:pt x="854" y="790"/>
                  </a:cubicBezTo>
                  <a:cubicBezTo>
                    <a:pt x="824" y="774"/>
                    <a:pt x="796" y="752"/>
                    <a:pt x="770" y="729"/>
                  </a:cubicBezTo>
                  <a:cubicBezTo>
                    <a:pt x="745" y="707"/>
                    <a:pt x="719" y="682"/>
                    <a:pt x="692" y="657"/>
                  </a:cubicBezTo>
                  <a:cubicBezTo>
                    <a:pt x="685" y="651"/>
                    <a:pt x="678" y="645"/>
                    <a:pt x="671" y="639"/>
                  </a:cubicBezTo>
                  <a:cubicBezTo>
                    <a:pt x="665" y="632"/>
                    <a:pt x="658" y="626"/>
                    <a:pt x="651" y="620"/>
                  </a:cubicBezTo>
                  <a:cubicBezTo>
                    <a:pt x="637" y="607"/>
                    <a:pt x="624" y="593"/>
                    <a:pt x="609" y="580"/>
                  </a:cubicBezTo>
                  <a:cubicBezTo>
                    <a:pt x="580" y="554"/>
                    <a:pt x="549" y="527"/>
                    <a:pt x="512" y="506"/>
                  </a:cubicBezTo>
                  <a:cubicBezTo>
                    <a:pt x="494" y="495"/>
                    <a:pt x="474" y="486"/>
                    <a:pt x="453" y="479"/>
                  </a:cubicBezTo>
                  <a:cubicBezTo>
                    <a:pt x="432" y="473"/>
                    <a:pt x="409" y="469"/>
                    <a:pt x="387" y="469"/>
                  </a:cubicBezTo>
                  <a:cubicBezTo>
                    <a:pt x="362" y="469"/>
                    <a:pt x="338" y="475"/>
                    <a:pt x="316" y="488"/>
                  </a:cubicBezTo>
                  <a:cubicBezTo>
                    <a:pt x="295" y="500"/>
                    <a:pt x="278" y="518"/>
                    <a:pt x="265" y="539"/>
                  </a:cubicBezTo>
                  <a:cubicBezTo>
                    <a:pt x="253" y="560"/>
                    <a:pt x="246" y="585"/>
                    <a:pt x="246" y="610"/>
                  </a:cubicBezTo>
                  <a:cubicBezTo>
                    <a:pt x="246" y="630"/>
                    <a:pt x="246" y="651"/>
                    <a:pt x="246" y="672"/>
                  </a:cubicBezTo>
                  <a:cubicBezTo>
                    <a:pt x="246" y="713"/>
                    <a:pt x="247" y="755"/>
                    <a:pt x="247" y="796"/>
                  </a:cubicBezTo>
                  <a:cubicBezTo>
                    <a:pt x="247" y="814"/>
                    <a:pt x="247" y="831"/>
                    <a:pt x="247" y="849"/>
                  </a:cubicBezTo>
                  <a:cubicBezTo>
                    <a:pt x="247" y="851"/>
                    <a:pt x="247" y="854"/>
                    <a:pt x="246" y="856"/>
                  </a:cubicBezTo>
                  <a:cubicBezTo>
                    <a:pt x="245" y="857"/>
                    <a:pt x="244" y="858"/>
                    <a:pt x="243" y="858"/>
                  </a:cubicBezTo>
                  <a:cubicBezTo>
                    <a:pt x="242" y="859"/>
                    <a:pt x="241" y="859"/>
                    <a:pt x="240" y="859"/>
                  </a:cubicBezTo>
                  <a:cubicBezTo>
                    <a:pt x="238" y="860"/>
                    <a:pt x="236" y="860"/>
                    <a:pt x="233" y="860"/>
                  </a:cubicBezTo>
                  <a:cubicBezTo>
                    <a:pt x="230" y="860"/>
                    <a:pt x="230" y="860"/>
                    <a:pt x="230" y="860"/>
                  </a:cubicBezTo>
                  <a:cubicBezTo>
                    <a:pt x="223" y="861"/>
                    <a:pt x="223" y="861"/>
                    <a:pt x="223" y="861"/>
                  </a:cubicBezTo>
                  <a:cubicBezTo>
                    <a:pt x="213" y="861"/>
                    <a:pt x="204" y="861"/>
                    <a:pt x="195" y="861"/>
                  </a:cubicBezTo>
                  <a:cubicBezTo>
                    <a:pt x="188" y="861"/>
                    <a:pt x="188" y="861"/>
                    <a:pt x="188" y="861"/>
                  </a:cubicBezTo>
                  <a:cubicBezTo>
                    <a:pt x="185" y="861"/>
                    <a:pt x="184" y="861"/>
                    <a:pt x="181" y="861"/>
                  </a:cubicBezTo>
                  <a:cubicBezTo>
                    <a:pt x="177" y="861"/>
                    <a:pt x="173" y="861"/>
                    <a:pt x="169" y="860"/>
                  </a:cubicBezTo>
                  <a:cubicBezTo>
                    <a:pt x="153" y="858"/>
                    <a:pt x="137" y="852"/>
                    <a:pt x="121" y="844"/>
                  </a:cubicBezTo>
                  <a:cubicBezTo>
                    <a:pt x="106" y="836"/>
                    <a:pt x="93" y="826"/>
                    <a:pt x="81" y="813"/>
                  </a:cubicBezTo>
                  <a:cubicBezTo>
                    <a:pt x="70" y="801"/>
                    <a:pt x="62" y="787"/>
                    <a:pt x="59" y="771"/>
                  </a:cubicBezTo>
                  <a:cubicBezTo>
                    <a:pt x="59" y="768"/>
                    <a:pt x="58" y="764"/>
                    <a:pt x="58" y="760"/>
                  </a:cubicBezTo>
                  <a:cubicBezTo>
                    <a:pt x="58" y="757"/>
                    <a:pt x="58" y="757"/>
                    <a:pt x="58" y="757"/>
                  </a:cubicBezTo>
                  <a:cubicBezTo>
                    <a:pt x="58" y="753"/>
                    <a:pt x="58" y="753"/>
                    <a:pt x="58" y="753"/>
                  </a:cubicBezTo>
                  <a:cubicBezTo>
                    <a:pt x="58" y="746"/>
                    <a:pt x="58" y="746"/>
                    <a:pt x="58" y="746"/>
                  </a:cubicBezTo>
                  <a:cubicBezTo>
                    <a:pt x="58" y="736"/>
                    <a:pt x="58" y="726"/>
                    <a:pt x="58" y="717"/>
                  </a:cubicBezTo>
                  <a:cubicBezTo>
                    <a:pt x="58" y="697"/>
                    <a:pt x="58" y="677"/>
                    <a:pt x="57" y="657"/>
                  </a:cubicBezTo>
                  <a:cubicBezTo>
                    <a:pt x="57" y="618"/>
                    <a:pt x="57" y="578"/>
                    <a:pt x="57" y="538"/>
                  </a:cubicBezTo>
                  <a:cubicBezTo>
                    <a:pt x="57" y="400"/>
                    <a:pt x="56" y="143"/>
                    <a:pt x="55" y="81"/>
                  </a:cubicBezTo>
                  <a:cubicBezTo>
                    <a:pt x="55" y="72"/>
                    <a:pt x="56" y="68"/>
                    <a:pt x="56" y="67"/>
                  </a:cubicBezTo>
                  <a:cubicBezTo>
                    <a:pt x="56" y="58"/>
                    <a:pt x="56" y="53"/>
                    <a:pt x="70" y="53"/>
                  </a:cubicBezTo>
                  <a:cubicBezTo>
                    <a:pt x="89" y="53"/>
                    <a:pt x="122" y="52"/>
                    <a:pt x="148" y="52"/>
                  </a:cubicBezTo>
                  <a:cubicBezTo>
                    <a:pt x="162" y="52"/>
                    <a:pt x="176" y="52"/>
                    <a:pt x="190" y="52"/>
                  </a:cubicBezTo>
                  <a:cubicBezTo>
                    <a:pt x="197" y="52"/>
                    <a:pt x="204" y="52"/>
                    <a:pt x="211" y="52"/>
                  </a:cubicBezTo>
                  <a:cubicBezTo>
                    <a:pt x="222" y="52"/>
                    <a:pt x="222" y="52"/>
                    <a:pt x="222" y="52"/>
                  </a:cubicBezTo>
                  <a:cubicBezTo>
                    <a:pt x="225" y="52"/>
                    <a:pt x="228" y="52"/>
                    <a:pt x="231" y="53"/>
                  </a:cubicBezTo>
                  <a:cubicBezTo>
                    <a:pt x="257" y="54"/>
                    <a:pt x="282" y="61"/>
                    <a:pt x="306" y="72"/>
                  </a:cubicBezTo>
                  <a:cubicBezTo>
                    <a:pt x="317" y="78"/>
                    <a:pt x="328" y="84"/>
                    <a:pt x="339" y="92"/>
                  </a:cubicBezTo>
                  <a:cubicBezTo>
                    <a:pt x="344" y="95"/>
                    <a:pt x="349" y="99"/>
                    <a:pt x="353" y="104"/>
                  </a:cubicBezTo>
                  <a:cubicBezTo>
                    <a:pt x="358" y="108"/>
                    <a:pt x="363" y="113"/>
                    <a:pt x="368" y="117"/>
                  </a:cubicBezTo>
                  <a:cubicBezTo>
                    <a:pt x="408" y="155"/>
                    <a:pt x="448" y="191"/>
                    <a:pt x="487" y="228"/>
                  </a:cubicBezTo>
                  <a:cubicBezTo>
                    <a:pt x="506" y="246"/>
                    <a:pt x="525" y="264"/>
                    <a:pt x="544" y="281"/>
                  </a:cubicBezTo>
                  <a:cubicBezTo>
                    <a:pt x="552" y="288"/>
                    <a:pt x="552" y="288"/>
                    <a:pt x="552" y="288"/>
                  </a:cubicBezTo>
                  <a:cubicBezTo>
                    <a:pt x="555" y="291"/>
                    <a:pt x="555" y="291"/>
                    <a:pt x="555" y="291"/>
                  </a:cubicBezTo>
                  <a:cubicBezTo>
                    <a:pt x="558" y="295"/>
                    <a:pt x="558" y="295"/>
                    <a:pt x="558" y="295"/>
                  </a:cubicBezTo>
                  <a:cubicBezTo>
                    <a:pt x="563" y="299"/>
                    <a:pt x="568" y="304"/>
                    <a:pt x="573" y="308"/>
                  </a:cubicBezTo>
                  <a:cubicBezTo>
                    <a:pt x="583" y="317"/>
                    <a:pt x="593" y="326"/>
                    <a:pt x="604" y="334"/>
                  </a:cubicBezTo>
                  <a:cubicBezTo>
                    <a:pt x="641" y="362"/>
                    <a:pt x="680" y="382"/>
                    <a:pt x="716" y="397"/>
                  </a:cubicBezTo>
                  <a:cubicBezTo>
                    <a:pt x="752" y="411"/>
                    <a:pt x="786" y="420"/>
                    <a:pt x="815" y="425"/>
                  </a:cubicBezTo>
                  <a:cubicBezTo>
                    <a:pt x="843" y="430"/>
                    <a:pt x="868" y="432"/>
                    <a:pt x="886" y="432"/>
                  </a:cubicBezTo>
                  <a:cubicBezTo>
                    <a:pt x="904" y="433"/>
                    <a:pt x="916" y="432"/>
                    <a:pt x="922" y="432"/>
                  </a:cubicBezTo>
                  <a:cubicBezTo>
                    <a:pt x="944" y="431"/>
                    <a:pt x="960" y="428"/>
                    <a:pt x="971" y="426"/>
                  </a:cubicBezTo>
                  <a:cubicBezTo>
                    <a:pt x="982" y="424"/>
                    <a:pt x="988" y="423"/>
                    <a:pt x="989" y="422"/>
                  </a:cubicBezTo>
                  <a:cubicBezTo>
                    <a:pt x="989" y="420"/>
                    <a:pt x="985" y="420"/>
                    <a:pt x="975" y="420"/>
                  </a:cubicBezTo>
                  <a:cubicBezTo>
                    <a:pt x="965" y="420"/>
                    <a:pt x="952" y="420"/>
                    <a:pt x="928" y="419"/>
                  </a:cubicBezTo>
                  <a:cubicBezTo>
                    <a:pt x="899" y="418"/>
                    <a:pt x="856" y="415"/>
                    <a:pt x="804" y="402"/>
                  </a:cubicBezTo>
                  <a:cubicBezTo>
                    <a:pt x="778" y="395"/>
                    <a:pt x="749" y="386"/>
                    <a:pt x="720" y="373"/>
                  </a:cubicBezTo>
                  <a:cubicBezTo>
                    <a:pt x="690" y="359"/>
                    <a:pt x="659" y="342"/>
                    <a:pt x="630" y="320"/>
                  </a:cubicBezTo>
                  <a:cubicBezTo>
                    <a:pt x="615" y="308"/>
                    <a:pt x="600" y="296"/>
                    <a:pt x="585" y="282"/>
                  </a:cubicBezTo>
                  <a:cubicBezTo>
                    <a:pt x="582" y="279"/>
                    <a:pt x="578" y="275"/>
                    <a:pt x="575" y="272"/>
                  </a:cubicBezTo>
                  <a:cubicBezTo>
                    <a:pt x="571" y="268"/>
                    <a:pt x="567" y="265"/>
                    <a:pt x="563" y="261"/>
                  </a:cubicBezTo>
                  <a:cubicBezTo>
                    <a:pt x="556" y="254"/>
                    <a:pt x="548" y="246"/>
                    <a:pt x="540" y="239"/>
                  </a:cubicBezTo>
                  <a:cubicBezTo>
                    <a:pt x="510" y="209"/>
                    <a:pt x="477" y="178"/>
                    <a:pt x="443" y="145"/>
                  </a:cubicBezTo>
                  <a:cubicBezTo>
                    <a:pt x="426" y="129"/>
                    <a:pt x="409" y="112"/>
                    <a:pt x="391" y="95"/>
                  </a:cubicBezTo>
                  <a:cubicBezTo>
                    <a:pt x="386" y="91"/>
                    <a:pt x="382" y="87"/>
                    <a:pt x="377" y="83"/>
                  </a:cubicBezTo>
                  <a:cubicBezTo>
                    <a:pt x="372" y="78"/>
                    <a:pt x="367" y="74"/>
                    <a:pt x="362" y="70"/>
                  </a:cubicBezTo>
                  <a:cubicBezTo>
                    <a:pt x="352" y="61"/>
                    <a:pt x="340" y="54"/>
                    <a:pt x="328" y="47"/>
                  </a:cubicBezTo>
                  <a:cubicBezTo>
                    <a:pt x="304" y="35"/>
                    <a:pt x="278" y="25"/>
                    <a:pt x="250" y="21"/>
                  </a:cubicBezTo>
                  <a:cubicBezTo>
                    <a:pt x="243" y="20"/>
                    <a:pt x="236" y="20"/>
                    <a:pt x="229" y="19"/>
                  </a:cubicBezTo>
                  <a:cubicBezTo>
                    <a:pt x="224" y="19"/>
                    <a:pt x="224" y="19"/>
                    <a:pt x="224" y="19"/>
                  </a:cubicBezTo>
                  <a:cubicBezTo>
                    <a:pt x="222" y="19"/>
                    <a:pt x="220" y="19"/>
                    <a:pt x="218" y="19"/>
                  </a:cubicBezTo>
                  <a:cubicBezTo>
                    <a:pt x="215" y="19"/>
                    <a:pt x="212" y="19"/>
                    <a:pt x="208" y="19"/>
                  </a:cubicBezTo>
                  <a:cubicBezTo>
                    <a:pt x="195" y="19"/>
                    <a:pt x="181" y="19"/>
                    <a:pt x="168" y="18"/>
                  </a:cubicBezTo>
                  <a:cubicBezTo>
                    <a:pt x="131" y="18"/>
                    <a:pt x="94" y="18"/>
                    <a:pt x="56" y="18"/>
                  </a:cubicBezTo>
                  <a:cubicBezTo>
                    <a:pt x="34" y="19"/>
                    <a:pt x="21" y="34"/>
                    <a:pt x="21" y="53"/>
                  </a:cubicBezTo>
                  <a:cubicBezTo>
                    <a:pt x="21" y="71"/>
                    <a:pt x="20" y="142"/>
                    <a:pt x="20" y="186"/>
                  </a:cubicBezTo>
                  <a:cubicBezTo>
                    <a:pt x="19" y="304"/>
                    <a:pt x="19" y="424"/>
                    <a:pt x="18" y="545"/>
                  </a:cubicBezTo>
                  <a:cubicBezTo>
                    <a:pt x="18" y="605"/>
                    <a:pt x="18" y="665"/>
                    <a:pt x="18" y="726"/>
                  </a:cubicBezTo>
                  <a:cubicBezTo>
                    <a:pt x="18" y="748"/>
                    <a:pt x="18" y="748"/>
                    <a:pt x="18" y="748"/>
                  </a:cubicBezTo>
                  <a:cubicBezTo>
                    <a:pt x="18" y="760"/>
                    <a:pt x="18" y="760"/>
                    <a:pt x="18" y="760"/>
                  </a:cubicBezTo>
                  <a:cubicBezTo>
                    <a:pt x="18" y="764"/>
                    <a:pt x="19" y="769"/>
                    <a:pt x="19" y="774"/>
                  </a:cubicBezTo>
                  <a:cubicBezTo>
                    <a:pt x="22" y="792"/>
                    <a:pt x="29" y="809"/>
                    <a:pt x="39" y="823"/>
                  </a:cubicBezTo>
                  <a:cubicBezTo>
                    <a:pt x="48" y="838"/>
                    <a:pt x="60" y="850"/>
                    <a:pt x="73" y="861"/>
                  </a:cubicBezTo>
                  <a:cubicBezTo>
                    <a:pt x="86" y="871"/>
                    <a:pt x="101" y="880"/>
                    <a:pt x="116" y="887"/>
                  </a:cubicBezTo>
                  <a:cubicBezTo>
                    <a:pt x="131" y="893"/>
                    <a:pt x="147" y="898"/>
                    <a:pt x="164" y="901"/>
                  </a:cubicBezTo>
                  <a:cubicBezTo>
                    <a:pt x="168" y="901"/>
                    <a:pt x="172" y="902"/>
                    <a:pt x="177" y="902"/>
                  </a:cubicBezTo>
                  <a:cubicBezTo>
                    <a:pt x="179" y="902"/>
                    <a:pt x="181" y="902"/>
                    <a:pt x="183" y="902"/>
                  </a:cubicBezTo>
                  <a:cubicBezTo>
                    <a:pt x="189" y="902"/>
                    <a:pt x="189" y="902"/>
                    <a:pt x="189" y="902"/>
                  </a:cubicBezTo>
                  <a:cubicBezTo>
                    <a:pt x="197" y="902"/>
                    <a:pt x="204" y="902"/>
                    <a:pt x="212" y="902"/>
                  </a:cubicBezTo>
                  <a:cubicBezTo>
                    <a:pt x="223" y="902"/>
                    <a:pt x="223" y="902"/>
                    <a:pt x="223" y="902"/>
                  </a:cubicBezTo>
                  <a:cubicBezTo>
                    <a:pt x="229" y="902"/>
                    <a:pt x="229" y="902"/>
                    <a:pt x="229" y="902"/>
                  </a:cubicBezTo>
                  <a:cubicBezTo>
                    <a:pt x="236" y="901"/>
                    <a:pt x="236" y="901"/>
                    <a:pt x="236" y="901"/>
                  </a:cubicBezTo>
                  <a:cubicBezTo>
                    <a:pt x="247" y="901"/>
                    <a:pt x="258" y="899"/>
                    <a:pt x="268" y="896"/>
                  </a:cubicBezTo>
                  <a:cubicBezTo>
                    <a:pt x="272" y="894"/>
                    <a:pt x="277" y="891"/>
                    <a:pt x="280" y="886"/>
                  </a:cubicBezTo>
                  <a:cubicBezTo>
                    <a:pt x="283" y="882"/>
                    <a:pt x="285" y="878"/>
                    <a:pt x="286" y="873"/>
                  </a:cubicBezTo>
                  <a:cubicBezTo>
                    <a:pt x="287" y="870"/>
                    <a:pt x="287" y="868"/>
                    <a:pt x="288" y="865"/>
                  </a:cubicBezTo>
                  <a:cubicBezTo>
                    <a:pt x="288" y="862"/>
                    <a:pt x="288" y="860"/>
                    <a:pt x="288" y="857"/>
                  </a:cubicBezTo>
                  <a:cubicBezTo>
                    <a:pt x="288" y="841"/>
                    <a:pt x="288" y="841"/>
                    <a:pt x="288" y="841"/>
                  </a:cubicBezTo>
                  <a:cubicBezTo>
                    <a:pt x="288" y="782"/>
                    <a:pt x="288" y="724"/>
                    <a:pt x="288" y="666"/>
                  </a:cubicBezTo>
                  <a:cubicBezTo>
                    <a:pt x="288" y="652"/>
                    <a:pt x="288" y="638"/>
                    <a:pt x="288" y="623"/>
                  </a:cubicBezTo>
                  <a:cubicBezTo>
                    <a:pt x="288" y="616"/>
                    <a:pt x="287" y="609"/>
                    <a:pt x="288" y="603"/>
                  </a:cubicBezTo>
                  <a:cubicBezTo>
                    <a:pt x="288" y="597"/>
                    <a:pt x="289" y="591"/>
                    <a:pt x="290" y="586"/>
                  </a:cubicBezTo>
                  <a:cubicBezTo>
                    <a:pt x="296" y="562"/>
                    <a:pt x="310" y="541"/>
                    <a:pt x="329" y="528"/>
                  </a:cubicBezTo>
                  <a:cubicBezTo>
                    <a:pt x="339" y="521"/>
                    <a:pt x="349" y="515"/>
                    <a:pt x="360" y="512"/>
                  </a:cubicBezTo>
                  <a:cubicBezTo>
                    <a:pt x="366" y="511"/>
                    <a:pt x="372" y="510"/>
                    <a:pt x="377" y="509"/>
                  </a:cubicBezTo>
                  <a:cubicBezTo>
                    <a:pt x="380" y="509"/>
                    <a:pt x="383" y="509"/>
                    <a:pt x="386" y="509"/>
                  </a:cubicBezTo>
                  <a:cubicBezTo>
                    <a:pt x="389" y="509"/>
                    <a:pt x="392" y="509"/>
                    <a:pt x="395" y="509"/>
                  </a:cubicBezTo>
                  <a:cubicBezTo>
                    <a:pt x="420" y="510"/>
                    <a:pt x="445" y="516"/>
                    <a:pt x="468" y="526"/>
                  </a:cubicBezTo>
                  <a:cubicBezTo>
                    <a:pt x="491" y="536"/>
                    <a:pt x="512" y="549"/>
                    <a:pt x="532" y="564"/>
                  </a:cubicBezTo>
                  <a:cubicBezTo>
                    <a:pt x="553" y="579"/>
                    <a:pt x="572" y="596"/>
                    <a:pt x="590" y="612"/>
                  </a:cubicBezTo>
                  <a:cubicBezTo>
                    <a:pt x="609" y="629"/>
                    <a:pt x="627" y="646"/>
                    <a:pt x="646" y="663"/>
                  </a:cubicBezTo>
                  <a:cubicBezTo>
                    <a:pt x="655" y="671"/>
                    <a:pt x="664" y="679"/>
                    <a:pt x="673" y="687"/>
                  </a:cubicBezTo>
                  <a:cubicBezTo>
                    <a:pt x="682" y="695"/>
                    <a:pt x="691" y="703"/>
                    <a:pt x="700" y="711"/>
                  </a:cubicBezTo>
                  <a:cubicBezTo>
                    <a:pt x="736" y="742"/>
                    <a:pt x="770" y="774"/>
                    <a:pt x="808" y="798"/>
                  </a:cubicBezTo>
                  <a:cubicBezTo>
                    <a:pt x="828" y="811"/>
                    <a:pt x="848" y="821"/>
                    <a:pt x="869" y="828"/>
                  </a:cubicBezTo>
                  <a:cubicBezTo>
                    <a:pt x="890" y="835"/>
                    <a:pt x="913" y="838"/>
                    <a:pt x="934" y="836"/>
                  </a:cubicBezTo>
                  <a:cubicBezTo>
                    <a:pt x="956" y="834"/>
                    <a:pt x="976" y="828"/>
                    <a:pt x="994" y="820"/>
                  </a:cubicBezTo>
                  <a:cubicBezTo>
                    <a:pt x="1012" y="811"/>
                    <a:pt x="1028" y="801"/>
                    <a:pt x="1043" y="791"/>
                  </a:cubicBezTo>
                  <a:cubicBezTo>
                    <a:pt x="1072" y="770"/>
                    <a:pt x="1096" y="747"/>
                    <a:pt x="1119" y="727"/>
                  </a:cubicBezTo>
                  <a:cubicBezTo>
                    <a:pt x="1140" y="706"/>
                    <a:pt x="1160" y="687"/>
                    <a:pt x="1179" y="670"/>
                  </a:cubicBezTo>
                  <a:cubicBezTo>
                    <a:pt x="1197" y="653"/>
                    <a:pt x="1212" y="637"/>
                    <a:pt x="1226" y="623"/>
                  </a:cubicBezTo>
                  <a:cubicBezTo>
                    <a:pt x="1247" y="602"/>
                    <a:pt x="1259" y="589"/>
                    <a:pt x="1272" y="577"/>
                  </a:cubicBezTo>
                  <a:cubicBezTo>
                    <a:pt x="1291" y="559"/>
                    <a:pt x="1304" y="547"/>
                    <a:pt x="1309" y="541"/>
                  </a:cubicBezTo>
                  <a:cubicBezTo>
                    <a:pt x="1314" y="536"/>
                    <a:pt x="1312" y="535"/>
                    <a:pt x="1301" y="542"/>
                  </a:cubicBezTo>
                  <a:close/>
                  <a:moveTo>
                    <a:pt x="1834" y="859"/>
                  </a:moveTo>
                  <a:cubicBezTo>
                    <a:pt x="1834" y="862"/>
                    <a:pt x="1835" y="865"/>
                    <a:pt x="1834" y="868"/>
                  </a:cubicBezTo>
                  <a:cubicBezTo>
                    <a:pt x="1834" y="871"/>
                    <a:pt x="1833" y="874"/>
                    <a:pt x="1832" y="877"/>
                  </a:cubicBezTo>
                  <a:cubicBezTo>
                    <a:pt x="1831" y="882"/>
                    <a:pt x="1828" y="887"/>
                    <a:pt x="1824" y="892"/>
                  </a:cubicBezTo>
                  <a:cubicBezTo>
                    <a:pt x="1822" y="894"/>
                    <a:pt x="1820" y="896"/>
                    <a:pt x="1818" y="898"/>
                  </a:cubicBezTo>
                  <a:cubicBezTo>
                    <a:pt x="1816" y="900"/>
                    <a:pt x="1813" y="901"/>
                    <a:pt x="1810" y="902"/>
                  </a:cubicBezTo>
                  <a:cubicBezTo>
                    <a:pt x="1805" y="905"/>
                    <a:pt x="1799" y="906"/>
                    <a:pt x="1793" y="907"/>
                  </a:cubicBezTo>
                  <a:cubicBezTo>
                    <a:pt x="1786" y="908"/>
                    <a:pt x="1779" y="909"/>
                    <a:pt x="1773" y="909"/>
                  </a:cubicBezTo>
                  <a:cubicBezTo>
                    <a:pt x="1769" y="910"/>
                    <a:pt x="1764" y="910"/>
                    <a:pt x="1760" y="910"/>
                  </a:cubicBezTo>
                  <a:cubicBezTo>
                    <a:pt x="1752" y="910"/>
                    <a:pt x="1743" y="911"/>
                    <a:pt x="1735" y="911"/>
                  </a:cubicBezTo>
                  <a:cubicBezTo>
                    <a:pt x="1732" y="911"/>
                    <a:pt x="1730" y="911"/>
                    <a:pt x="1728" y="911"/>
                  </a:cubicBezTo>
                  <a:cubicBezTo>
                    <a:pt x="1725" y="911"/>
                    <a:pt x="1723" y="911"/>
                    <a:pt x="1720" y="911"/>
                  </a:cubicBezTo>
                  <a:cubicBezTo>
                    <a:pt x="1715" y="911"/>
                    <a:pt x="1710" y="910"/>
                    <a:pt x="1704" y="910"/>
                  </a:cubicBezTo>
                  <a:cubicBezTo>
                    <a:pt x="1685" y="907"/>
                    <a:pt x="1665" y="901"/>
                    <a:pt x="1645" y="892"/>
                  </a:cubicBezTo>
                  <a:cubicBezTo>
                    <a:pt x="1625" y="882"/>
                    <a:pt x="1605" y="869"/>
                    <a:pt x="1587" y="851"/>
                  </a:cubicBezTo>
                  <a:cubicBezTo>
                    <a:pt x="1578" y="842"/>
                    <a:pt x="1570" y="831"/>
                    <a:pt x="1563" y="819"/>
                  </a:cubicBezTo>
                  <a:cubicBezTo>
                    <a:pt x="1556" y="807"/>
                    <a:pt x="1550" y="793"/>
                    <a:pt x="1548" y="777"/>
                  </a:cubicBezTo>
                  <a:cubicBezTo>
                    <a:pt x="1547" y="773"/>
                    <a:pt x="1546" y="769"/>
                    <a:pt x="1546" y="765"/>
                  </a:cubicBezTo>
                  <a:cubicBezTo>
                    <a:pt x="1546" y="763"/>
                    <a:pt x="1546" y="761"/>
                    <a:pt x="1546" y="759"/>
                  </a:cubicBezTo>
                  <a:cubicBezTo>
                    <a:pt x="1546" y="755"/>
                    <a:pt x="1546" y="755"/>
                    <a:pt x="1546" y="755"/>
                  </a:cubicBezTo>
                  <a:cubicBezTo>
                    <a:pt x="1546" y="749"/>
                    <a:pt x="1546" y="743"/>
                    <a:pt x="1546" y="737"/>
                  </a:cubicBezTo>
                  <a:cubicBezTo>
                    <a:pt x="1545" y="725"/>
                    <a:pt x="1545" y="713"/>
                    <a:pt x="1545" y="700"/>
                  </a:cubicBezTo>
                  <a:cubicBezTo>
                    <a:pt x="1545" y="676"/>
                    <a:pt x="1545" y="650"/>
                    <a:pt x="1544" y="624"/>
                  </a:cubicBezTo>
                  <a:cubicBezTo>
                    <a:pt x="1544" y="620"/>
                    <a:pt x="1544" y="617"/>
                    <a:pt x="1544" y="614"/>
                  </a:cubicBezTo>
                  <a:cubicBezTo>
                    <a:pt x="1544" y="609"/>
                    <a:pt x="1544" y="609"/>
                    <a:pt x="1544" y="609"/>
                  </a:cubicBezTo>
                  <a:cubicBezTo>
                    <a:pt x="1544" y="608"/>
                    <a:pt x="1544" y="607"/>
                    <a:pt x="1544" y="605"/>
                  </a:cubicBezTo>
                  <a:cubicBezTo>
                    <a:pt x="1544" y="601"/>
                    <a:pt x="1543" y="596"/>
                    <a:pt x="1542" y="591"/>
                  </a:cubicBezTo>
                  <a:cubicBezTo>
                    <a:pt x="1540" y="582"/>
                    <a:pt x="1536" y="572"/>
                    <a:pt x="1531" y="564"/>
                  </a:cubicBezTo>
                  <a:cubicBezTo>
                    <a:pt x="1520" y="547"/>
                    <a:pt x="1503" y="534"/>
                    <a:pt x="1483" y="529"/>
                  </a:cubicBezTo>
                  <a:cubicBezTo>
                    <a:pt x="1478" y="527"/>
                    <a:pt x="1473" y="526"/>
                    <a:pt x="1468" y="526"/>
                  </a:cubicBezTo>
                  <a:cubicBezTo>
                    <a:pt x="1466" y="526"/>
                    <a:pt x="1463" y="525"/>
                    <a:pt x="1461" y="525"/>
                  </a:cubicBezTo>
                  <a:cubicBezTo>
                    <a:pt x="1458" y="525"/>
                    <a:pt x="1455" y="526"/>
                    <a:pt x="1452" y="526"/>
                  </a:cubicBezTo>
                  <a:cubicBezTo>
                    <a:pt x="1439" y="527"/>
                    <a:pt x="1427" y="529"/>
                    <a:pt x="1415" y="532"/>
                  </a:cubicBezTo>
                  <a:cubicBezTo>
                    <a:pt x="1391" y="539"/>
                    <a:pt x="1366" y="551"/>
                    <a:pt x="1343" y="567"/>
                  </a:cubicBezTo>
                  <a:cubicBezTo>
                    <a:pt x="1320" y="582"/>
                    <a:pt x="1297" y="601"/>
                    <a:pt x="1275" y="622"/>
                  </a:cubicBezTo>
                  <a:cubicBezTo>
                    <a:pt x="1252" y="643"/>
                    <a:pt x="1229" y="666"/>
                    <a:pt x="1204" y="688"/>
                  </a:cubicBezTo>
                  <a:cubicBezTo>
                    <a:pt x="1181" y="709"/>
                    <a:pt x="1157" y="731"/>
                    <a:pt x="1132" y="753"/>
                  </a:cubicBezTo>
                  <a:cubicBezTo>
                    <a:pt x="1108" y="775"/>
                    <a:pt x="1082" y="798"/>
                    <a:pt x="1052" y="818"/>
                  </a:cubicBezTo>
                  <a:cubicBezTo>
                    <a:pt x="1037" y="828"/>
                    <a:pt x="1021" y="837"/>
                    <a:pt x="1003" y="845"/>
                  </a:cubicBezTo>
                  <a:cubicBezTo>
                    <a:pt x="985" y="853"/>
                    <a:pt x="966" y="859"/>
                    <a:pt x="945" y="861"/>
                  </a:cubicBezTo>
                  <a:cubicBezTo>
                    <a:pt x="925" y="863"/>
                    <a:pt x="904" y="862"/>
                    <a:pt x="884" y="858"/>
                  </a:cubicBezTo>
                  <a:cubicBezTo>
                    <a:pt x="864" y="854"/>
                    <a:pt x="845" y="847"/>
                    <a:pt x="829" y="839"/>
                  </a:cubicBezTo>
                  <a:cubicBezTo>
                    <a:pt x="795" y="822"/>
                    <a:pt x="767" y="800"/>
                    <a:pt x="741" y="778"/>
                  </a:cubicBezTo>
                  <a:cubicBezTo>
                    <a:pt x="715" y="757"/>
                    <a:pt x="691" y="735"/>
                    <a:pt x="668" y="714"/>
                  </a:cubicBezTo>
                  <a:cubicBezTo>
                    <a:pt x="656" y="703"/>
                    <a:pt x="644" y="693"/>
                    <a:pt x="633" y="682"/>
                  </a:cubicBezTo>
                  <a:cubicBezTo>
                    <a:pt x="621" y="671"/>
                    <a:pt x="609" y="661"/>
                    <a:pt x="598" y="650"/>
                  </a:cubicBezTo>
                  <a:cubicBezTo>
                    <a:pt x="575" y="629"/>
                    <a:pt x="554" y="609"/>
                    <a:pt x="532" y="592"/>
                  </a:cubicBezTo>
                  <a:cubicBezTo>
                    <a:pt x="510" y="574"/>
                    <a:pt x="487" y="559"/>
                    <a:pt x="465" y="549"/>
                  </a:cubicBezTo>
                  <a:cubicBezTo>
                    <a:pt x="442" y="538"/>
                    <a:pt x="419" y="532"/>
                    <a:pt x="397" y="530"/>
                  </a:cubicBezTo>
                  <a:cubicBezTo>
                    <a:pt x="392" y="530"/>
                    <a:pt x="385" y="530"/>
                    <a:pt x="381" y="530"/>
                  </a:cubicBezTo>
                  <a:cubicBezTo>
                    <a:pt x="377" y="530"/>
                    <a:pt x="372" y="531"/>
                    <a:pt x="368" y="532"/>
                  </a:cubicBezTo>
                  <a:cubicBezTo>
                    <a:pt x="360" y="534"/>
                    <a:pt x="351" y="538"/>
                    <a:pt x="344" y="542"/>
                  </a:cubicBezTo>
                  <a:cubicBezTo>
                    <a:pt x="329" y="552"/>
                    <a:pt x="318" y="566"/>
                    <a:pt x="313" y="582"/>
                  </a:cubicBezTo>
                  <a:cubicBezTo>
                    <a:pt x="310" y="589"/>
                    <a:pt x="308" y="597"/>
                    <a:pt x="308" y="605"/>
                  </a:cubicBezTo>
                  <a:cubicBezTo>
                    <a:pt x="308" y="606"/>
                    <a:pt x="308" y="607"/>
                    <a:pt x="308" y="608"/>
                  </a:cubicBezTo>
                  <a:cubicBezTo>
                    <a:pt x="308" y="612"/>
                    <a:pt x="308" y="612"/>
                    <a:pt x="308" y="612"/>
                  </a:cubicBezTo>
                  <a:cubicBezTo>
                    <a:pt x="308" y="615"/>
                    <a:pt x="308" y="618"/>
                    <a:pt x="308" y="620"/>
                  </a:cubicBezTo>
                  <a:cubicBezTo>
                    <a:pt x="308" y="626"/>
                    <a:pt x="308" y="632"/>
                    <a:pt x="308" y="637"/>
                  </a:cubicBezTo>
                  <a:cubicBezTo>
                    <a:pt x="308" y="682"/>
                    <a:pt x="308" y="723"/>
                    <a:pt x="308" y="759"/>
                  </a:cubicBezTo>
                  <a:cubicBezTo>
                    <a:pt x="308" y="777"/>
                    <a:pt x="308" y="794"/>
                    <a:pt x="307" y="809"/>
                  </a:cubicBezTo>
                  <a:cubicBezTo>
                    <a:pt x="307" y="817"/>
                    <a:pt x="307" y="824"/>
                    <a:pt x="307" y="831"/>
                  </a:cubicBezTo>
                  <a:cubicBezTo>
                    <a:pt x="307" y="835"/>
                    <a:pt x="307" y="838"/>
                    <a:pt x="307" y="841"/>
                  </a:cubicBezTo>
                  <a:cubicBezTo>
                    <a:pt x="307" y="848"/>
                    <a:pt x="307" y="854"/>
                    <a:pt x="307" y="860"/>
                  </a:cubicBezTo>
                  <a:cubicBezTo>
                    <a:pt x="308" y="872"/>
                    <a:pt x="305" y="883"/>
                    <a:pt x="300" y="891"/>
                  </a:cubicBezTo>
                  <a:cubicBezTo>
                    <a:pt x="295" y="900"/>
                    <a:pt x="287" y="907"/>
                    <a:pt x="280" y="911"/>
                  </a:cubicBezTo>
                  <a:cubicBezTo>
                    <a:pt x="273" y="915"/>
                    <a:pt x="265" y="917"/>
                    <a:pt x="257" y="918"/>
                  </a:cubicBezTo>
                  <a:cubicBezTo>
                    <a:pt x="249" y="919"/>
                    <a:pt x="242" y="920"/>
                    <a:pt x="235" y="920"/>
                  </a:cubicBezTo>
                  <a:cubicBezTo>
                    <a:pt x="232" y="920"/>
                    <a:pt x="228" y="921"/>
                    <a:pt x="226" y="921"/>
                  </a:cubicBezTo>
                  <a:cubicBezTo>
                    <a:pt x="223" y="921"/>
                    <a:pt x="221" y="921"/>
                    <a:pt x="219" y="921"/>
                  </a:cubicBezTo>
                  <a:cubicBezTo>
                    <a:pt x="216" y="921"/>
                    <a:pt x="215" y="921"/>
                    <a:pt x="215" y="921"/>
                  </a:cubicBezTo>
                  <a:cubicBezTo>
                    <a:pt x="208" y="921"/>
                    <a:pt x="200" y="921"/>
                    <a:pt x="192" y="921"/>
                  </a:cubicBezTo>
                  <a:cubicBezTo>
                    <a:pt x="190" y="921"/>
                    <a:pt x="188" y="921"/>
                    <a:pt x="186" y="921"/>
                  </a:cubicBezTo>
                  <a:cubicBezTo>
                    <a:pt x="183" y="921"/>
                    <a:pt x="181" y="921"/>
                    <a:pt x="178" y="921"/>
                  </a:cubicBezTo>
                  <a:cubicBezTo>
                    <a:pt x="173" y="921"/>
                    <a:pt x="168" y="920"/>
                    <a:pt x="163" y="920"/>
                  </a:cubicBezTo>
                  <a:cubicBezTo>
                    <a:pt x="143" y="917"/>
                    <a:pt x="124" y="911"/>
                    <a:pt x="105" y="902"/>
                  </a:cubicBezTo>
                  <a:cubicBezTo>
                    <a:pt x="87" y="894"/>
                    <a:pt x="69" y="882"/>
                    <a:pt x="53" y="868"/>
                  </a:cubicBezTo>
                  <a:cubicBezTo>
                    <a:pt x="37" y="853"/>
                    <a:pt x="22" y="835"/>
                    <a:pt x="12" y="812"/>
                  </a:cubicBezTo>
                  <a:cubicBezTo>
                    <a:pt x="7" y="801"/>
                    <a:pt x="3" y="788"/>
                    <a:pt x="1" y="775"/>
                  </a:cubicBezTo>
                  <a:cubicBezTo>
                    <a:pt x="1" y="772"/>
                    <a:pt x="0" y="769"/>
                    <a:pt x="0" y="765"/>
                  </a:cubicBezTo>
                  <a:cubicBezTo>
                    <a:pt x="0" y="764"/>
                    <a:pt x="0" y="762"/>
                    <a:pt x="0" y="760"/>
                  </a:cubicBezTo>
                  <a:cubicBezTo>
                    <a:pt x="0" y="756"/>
                    <a:pt x="0" y="756"/>
                    <a:pt x="0" y="756"/>
                  </a:cubicBezTo>
                  <a:cubicBezTo>
                    <a:pt x="0" y="752"/>
                    <a:pt x="0" y="747"/>
                    <a:pt x="0" y="742"/>
                  </a:cubicBezTo>
                  <a:cubicBezTo>
                    <a:pt x="0" y="723"/>
                    <a:pt x="0" y="704"/>
                    <a:pt x="0" y="685"/>
                  </a:cubicBezTo>
                  <a:cubicBezTo>
                    <a:pt x="0" y="647"/>
                    <a:pt x="0" y="609"/>
                    <a:pt x="1" y="570"/>
                  </a:cubicBezTo>
                  <a:cubicBezTo>
                    <a:pt x="1" y="416"/>
                    <a:pt x="2" y="263"/>
                    <a:pt x="2" y="150"/>
                  </a:cubicBezTo>
                  <a:cubicBezTo>
                    <a:pt x="2" y="115"/>
                    <a:pt x="3" y="85"/>
                    <a:pt x="3" y="45"/>
                  </a:cubicBezTo>
                  <a:cubicBezTo>
                    <a:pt x="3" y="13"/>
                    <a:pt x="21" y="0"/>
                    <a:pt x="48" y="0"/>
                  </a:cubicBezTo>
                  <a:cubicBezTo>
                    <a:pt x="76" y="0"/>
                    <a:pt x="144" y="0"/>
                    <a:pt x="191" y="1"/>
                  </a:cubicBezTo>
                  <a:cubicBezTo>
                    <a:pt x="202" y="1"/>
                    <a:pt x="213" y="1"/>
                    <a:pt x="223" y="1"/>
                  </a:cubicBezTo>
                  <a:cubicBezTo>
                    <a:pt x="236" y="1"/>
                    <a:pt x="248" y="2"/>
                    <a:pt x="260" y="5"/>
                  </a:cubicBezTo>
                  <a:cubicBezTo>
                    <a:pt x="284" y="9"/>
                    <a:pt x="307" y="16"/>
                    <a:pt x="328" y="27"/>
                  </a:cubicBezTo>
                  <a:cubicBezTo>
                    <a:pt x="350" y="38"/>
                    <a:pt x="370" y="51"/>
                    <a:pt x="388" y="67"/>
                  </a:cubicBezTo>
                  <a:cubicBezTo>
                    <a:pt x="391" y="70"/>
                    <a:pt x="391" y="70"/>
                    <a:pt x="391" y="70"/>
                  </a:cubicBezTo>
                  <a:cubicBezTo>
                    <a:pt x="394" y="73"/>
                    <a:pt x="394" y="73"/>
                    <a:pt x="394" y="73"/>
                  </a:cubicBezTo>
                  <a:cubicBezTo>
                    <a:pt x="399" y="78"/>
                    <a:pt x="399" y="78"/>
                    <a:pt x="399" y="78"/>
                  </a:cubicBezTo>
                  <a:cubicBezTo>
                    <a:pt x="411" y="89"/>
                    <a:pt x="411" y="89"/>
                    <a:pt x="411" y="89"/>
                  </a:cubicBezTo>
                  <a:cubicBezTo>
                    <a:pt x="418" y="96"/>
                    <a:pt x="426" y="103"/>
                    <a:pt x="433" y="110"/>
                  </a:cubicBezTo>
                  <a:cubicBezTo>
                    <a:pt x="463" y="139"/>
                    <a:pt x="492" y="167"/>
                    <a:pt x="522" y="194"/>
                  </a:cubicBezTo>
                  <a:cubicBezTo>
                    <a:pt x="550" y="222"/>
                    <a:pt x="579" y="249"/>
                    <a:pt x="608" y="276"/>
                  </a:cubicBezTo>
                  <a:cubicBezTo>
                    <a:pt x="635" y="301"/>
                    <a:pt x="665" y="322"/>
                    <a:pt x="698" y="339"/>
                  </a:cubicBezTo>
                  <a:cubicBezTo>
                    <a:pt x="762" y="373"/>
                    <a:pt x="832" y="391"/>
                    <a:pt x="902" y="394"/>
                  </a:cubicBezTo>
                  <a:cubicBezTo>
                    <a:pt x="972" y="398"/>
                    <a:pt x="1040" y="387"/>
                    <a:pt x="1101" y="365"/>
                  </a:cubicBezTo>
                  <a:cubicBezTo>
                    <a:pt x="1132" y="353"/>
                    <a:pt x="1161" y="339"/>
                    <a:pt x="1188" y="322"/>
                  </a:cubicBezTo>
                  <a:cubicBezTo>
                    <a:pt x="1201" y="314"/>
                    <a:pt x="1214" y="305"/>
                    <a:pt x="1226" y="295"/>
                  </a:cubicBezTo>
                  <a:cubicBezTo>
                    <a:pt x="1232" y="290"/>
                    <a:pt x="1238" y="285"/>
                    <a:pt x="1244" y="280"/>
                  </a:cubicBezTo>
                  <a:cubicBezTo>
                    <a:pt x="1247" y="278"/>
                    <a:pt x="1249" y="275"/>
                    <a:pt x="1252" y="273"/>
                  </a:cubicBezTo>
                  <a:cubicBezTo>
                    <a:pt x="1255" y="270"/>
                    <a:pt x="1258" y="267"/>
                    <a:pt x="1261" y="265"/>
                  </a:cubicBezTo>
                  <a:cubicBezTo>
                    <a:pt x="1357" y="177"/>
                    <a:pt x="1519" y="28"/>
                    <a:pt x="1523" y="24"/>
                  </a:cubicBezTo>
                  <a:cubicBezTo>
                    <a:pt x="1528" y="20"/>
                    <a:pt x="1538" y="15"/>
                    <a:pt x="1548" y="15"/>
                  </a:cubicBezTo>
                  <a:cubicBezTo>
                    <a:pt x="1558" y="15"/>
                    <a:pt x="1656" y="16"/>
                    <a:pt x="1697" y="17"/>
                  </a:cubicBezTo>
                  <a:cubicBezTo>
                    <a:pt x="1714" y="17"/>
                    <a:pt x="1731" y="20"/>
                    <a:pt x="1746" y="26"/>
                  </a:cubicBezTo>
                  <a:cubicBezTo>
                    <a:pt x="1760" y="31"/>
                    <a:pt x="1773" y="39"/>
                    <a:pt x="1784" y="48"/>
                  </a:cubicBezTo>
                  <a:cubicBezTo>
                    <a:pt x="1805" y="65"/>
                    <a:pt x="1818" y="86"/>
                    <a:pt x="1825" y="103"/>
                  </a:cubicBezTo>
                  <a:cubicBezTo>
                    <a:pt x="1832" y="121"/>
                    <a:pt x="1834" y="135"/>
                    <a:pt x="1835" y="145"/>
                  </a:cubicBezTo>
                  <a:cubicBezTo>
                    <a:pt x="1835" y="152"/>
                    <a:pt x="1834" y="853"/>
                    <a:pt x="1834" y="859"/>
                  </a:cubicBezTo>
                  <a:close/>
                  <a:moveTo>
                    <a:pt x="1671" y="53"/>
                  </a:moveTo>
                  <a:cubicBezTo>
                    <a:pt x="1669" y="53"/>
                    <a:pt x="1558" y="55"/>
                    <a:pt x="1556" y="55"/>
                  </a:cubicBezTo>
                  <a:cubicBezTo>
                    <a:pt x="1553" y="55"/>
                    <a:pt x="1549" y="56"/>
                    <a:pt x="1545" y="59"/>
                  </a:cubicBezTo>
                  <a:cubicBezTo>
                    <a:pt x="1542" y="62"/>
                    <a:pt x="1470" y="132"/>
                    <a:pt x="1426" y="175"/>
                  </a:cubicBezTo>
                  <a:cubicBezTo>
                    <a:pt x="1403" y="197"/>
                    <a:pt x="1380" y="221"/>
                    <a:pt x="1355" y="244"/>
                  </a:cubicBezTo>
                  <a:cubicBezTo>
                    <a:pt x="1331" y="268"/>
                    <a:pt x="1307" y="292"/>
                    <a:pt x="1282" y="317"/>
                  </a:cubicBezTo>
                  <a:cubicBezTo>
                    <a:pt x="1266" y="332"/>
                    <a:pt x="1246" y="348"/>
                    <a:pt x="1225" y="364"/>
                  </a:cubicBezTo>
                  <a:cubicBezTo>
                    <a:pt x="1203" y="379"/>
                    <a:pt x="1179" y="393"/>
                    <a:pt x="1153" y="406"/>
                  </a:cubicBezTo>
                  <a:cubicBezTo>
                    <a:pt x="1127" y="418"/>
                    <a:pt x="1100" y="428"/>
                    <a:pt x="1072" y="436"/>
                  </a:cubicBezTo>
                  <a:cubicBezTo>
                    <a:pt x="1044" y="444"/>
                    <a:pt x="1016" y="450"/>
                    <a:pt x="990" y="453"/>
                  </a:cubicBezTo>
                  <a:cubicBezTo>
                    <a:pt x="936" y="460"/>
                    <a:pt x="888" y="459"/>
                    <a:pt x="853" y="455"/>
                  </a:cubicBezTo>
                  <a:cubicBezTo>
                    <a:pt x="835" y="453"/>
                    <a:pt x="821" y="450"/>
                    <a:pt x="812" y="449"/>
                  </a:cubicBezTo>
                  <a:cubicBezTo>
                    <a:pt x="807" y="448"/>
                    <a:pt x="803" y="447"/>
                    <a:pt x="800" y="446"/>
                  </a:cubicBezTo>
                  <a:cubicBezTo>
                    <a:pt x="798" y="446"/>
                    <a:pt x="796" y="445"/>
                    <a:pt x="796" y="445"/>
                  </a:cubicBezTo>
                  <a:cubicBezTo>
                    <a:pt x="747" y="435"/>
                    <a:pt x="688" y="415"/>
                    <a:pt x="632" y="380"/>
                  </a:cubicBezTo>
                  <a:cubicBezTo>
                    <a:pt x="604" y="363"/>
                    <a:pt x="576" y="342"/>
                    <a:pt x="550" y="318"/>
                  </a:cubicBezTo>
                  <a:cubicBezTo>
                    <a:pt x="547" y="315"/>
                    <a:pt x="544" y="312"/>
                    <a:pt x="540" y="309"/>
                  </a:cubicBezTo>
                  <a:cubicBezTo>
                    <a:pt x="539" y="308"/>
                    <a:pt x="539" y="308"/>
                    <a:pt x="539" y="308"/>
                  </a:cubicBezTo>
                  <a:cubicBezTo>
                    <a:pt x="539" y="307"/>
                    <a:pt x="539" y="307"/>
                    <a:pt x="539" y="307"/>
                  </a:cubicBezTo>
                  <a:cubicBezTo>
                    <a:pt x="537" y="305"/>
                    <a:pt x="537" y="305"/>
                    <a:pt x="537" y="305"/>
                  </a:cubicBezTo>
                  <a:cubicBezTo>
                    <a:pt x="532" y="301"/>
                    <a:pt x="532" y="301"/>
                    <a:pt x="532" y="301"/>
                  </a:cubicBezTo>
                  <a:cubicBezTo>
                    <a:pt x="526" y="295"/>
                    <a:pt x="520" y="290"/>
                    <a:pt x="514" y="284"/>
                  </a:cubicBezTo>
                  <a:cubicBezTo>
                    <a:pt x="502" y="273"/>
                    <a:pt x="490" y="261"/>
                    <a:pt x="477" y="250"/>
                  </a:cubicBezTo>
                  <a:cubicBezTo>
                    <a:pt x="453" y="227"/>
                    <a:pt x="428" y="204"/>
                    <a:pt x="404" y="181"/>
                  </a:cubicBezTo>
                  <a:cubicBezTo>
                    <a:pt x="392" y="170"/>
                    <a:pt x="380" y="159"/>
                    <a:pt x="368" y="148"/>
                  </a:cubicBezTo>
                  <a:cubicBezTo>
                    <a:pt x="362" y="142"/>
                    <a:pt x="356" y="136"/>
                    <a:pt x="350" y="131"/>
                  </a:cubicBezTo>
                  <a:cubicBezTo>
                    <a:pt x="347" y="128"/>
                    <a:pt x="344" y="125"/>
                    <a:pt x="341" y="123"/>
                  </a:cubicBezTo>
                  <a:cubicBezTo>
                    <a:pt x="339" y="121"/>
                    <a:pt x="336" y="118"/>
                    <a:pt x="334" y="116"/>
                  </a:cubicBezTo>
                  <a:cubicBezTo>
                    <a:pt x="313" y="99"/>
                    <a:pt x="290" y="88"/>
                    <a:pt x="266" y="81"/>
                  </a:cubicBezTo>
                  <a:cubicBezTo>
                    <a:pt x="254" y="78"/>
                    <a:pt x="242" y="76"/>
                    <a:pt x="231" y="75"/>
                  </a:cubicBezTo>
                  <a:cubicBezTo>
                    <a:pt x="225" y="74"/>
                    <a:pt x="220" y="74"/>
                    <a:pt x="212" y="74"/>
                  </a:cubicBezTo>
                  <a:cubicBezTo>
                    <a:pt x="206" y="74"/>
                    <a:pt x="199" y="74"/>
                    <a:pt x="192" y="74"/>
                  </a:cubicBezTo>
                  <a:cubicBezTo>
                    <a:pt x="155" y="74"/>
                    <a:pt x="80" y="74"/>
                    <a:pt x="79" y="74"/>
                  </a:cubicBezTo>
                  <a:cubicBezTo>
                    <a:pt x="78" y="74"/>
                    <a:pt x="77" y="74"/>
                    <a:pt x="77" y="76"/>
                  </a:cubicBezTo>
                  <a:cubicBezTo>
                    <a:pt x="77" y="78"/>
                    <a:pt x="77" y="402"/>
                    <a:pt x="77" y="568"/>
                  </a:cubicBezTo>
                  <a:cubicBezTo>
                    <a:pt x="76" y="611"/>
                    <a:pt x="76" y="654"/>
                    <a:pt x="76" y="698"/>
                  </a:cubicBezTo>
                  <a:cubicBezTo>
                    <a:pt x="76" y="719"/>
                    <a:pt x="76" y="740"/>
                    <a:pt x="76" y="761"/>
                  </a:cubicBezTo>
                  <a:cubicBezTo>
                    <a:pt x="77" y="773"/>
                    <a:pt x="82" y="786"/>
                    <a:pt x="92" y="798"/>
                  </a:cubicBezTo>
                  <a:cubicBezTo>
                    <a:pt x="111" y="823"/>
                    <a:pt x="145" y="841"/>
                    <a:pt x="177" y="844"/>
                  </a:cubicBezTo>
                  <a:cubicBezTo>
                    <a:pt x="179" y="845"/>
                    <a:pt x="181" y="845"/>
                    <a:pt x="183" y="845"/>
                  </a:cubicBezTo>
                  <a:cubicBezTo>
                    <a:pt x="184" y="845"/>
                    <a:pt x="185" y="845"/>
                    <a:pt x="186" y="845"/>
                  </a:cubicBezTo>
                  <a:cubicBezTo>
                    <a:pt x="190" y="845"/>
                    <a:pt x="190" y="845"/>
                    <a:pt x="190" y="845"/>
                  </a:cubicBezTo>
                  <a:cubicBezTo>
                    <a:pt x="206" y="845"/>
                    <a:pt x="206" y="845"/>
                    <a:pt x="206" y="845"/>
                  </a:cubicBezTo>
                  <a:cubicBezTo>
                    <a:pt x="211" y="845"/>
                    <a:pt x="216" y="845"/>
                    <a:pt x="221" y="845"/>
                  </a:cubicBezTo>
                  <a:cubicBezTo>
                    <a:pt x="228" y="844"/>
                    <a:pt x="228" y="844"/>
                    <a:pt x="228" y="844"/>
                  </a:cubicBezTo>
                  <a:cubicBezTo>
                    <a:pt x="230" y="844"/>
                    <a:pt x="229" y="844"/>
                    <a:pt x="230" y="844"/>
                  </a:cubicBezTo>
                  <a:cubicBezTo>
                    <a:pt x="230" y="844"/>
                    <a:pt x="230" y="844"/>
                    <a:pt x="230" y="844"/>
                  </a:cubicBezTo>
                  <a:cubicBezTo>
                    <a:pt x="230" y="844"/>
                    <a:pt x="231" y="844"/>
                    <a:pt x="231" y="844"/>
                  </a:cubicBezTo>
                  <a:cubicBezTo>
                    <a:pt x="231" y="844"/>
                    <a:pt x="231" y="843"/>
                    <a:pt x="231" y="843"/>
                  </a:cubicBezTo>
                  <a:cubicBezTo>
                    <a:pt x="231" y="843"/>
                    <a:pt x="231" y="843"/>
                    <a:pt x="231" y="843"/>
                  </a:cubicBezTo>
                  <a:cubicBezTo>
                    <a:pt x="231" y="843"/>
                    <a:pt x="231" y="843"/>
                    <a:pt x="231" y="843"/>
                  </a:cubicBezTo>
                  <a:cubicBezTo>
                    <a:pt x="231" y="842"/>
                    <a:pt x="231" y="842"/>
                    <a:pt x="231" y="842"/>
                  </a:cubicBezTo>
                  <a:cubicBezTo>
                    <a:pt x="231" y="838"/>
                    <a:pt x="231" y="838"/>
                    <a:pt x="231" y="838"/>
                  </a:cubicBezTo>
                  <a:cubicBezTo>
                    <a:pt x="231" y="794"/>
                    <a:pt x="232" y="751"/>
                    <a:pt x="232" y="708"/>
                  </a:cubicBezTo>
                  <a:cubicBezTo>
                    <a:pt x="232" y="686"/>
                    <a:pt x="232" y="664"/>
                    <a:pt x="232" y="643"/>
                  </a:cubicBezTo>
                  <a:cubicBezTo>
                    <a:pt x="232" y="610"/>
                    <a:pt x="232" y="610"/>
                    <a:pt x="232" y="610"/>
                  </a:cubicBezTo>
                  <a:cubicBezTo>
                    <a:pt x="232" y="605"/>
                    <a:pt x="232" y="605"/>
                    <a:pt x="232" y="605"/>
                  </a:cubicBezTo>
                  <a:cubicBezTo>
                    <a:pt x="232" y="604"/>
                    <a:pt x="232" y="602"/>
                    <a:pt x="232" y="600"/>
                  </a:cubicBezTo>
                  <a:cubicBezTo>
                    <a:pt x="232" y="596"/>
                    <a:pt x="233" y="593"/>
                    <a:pt x="233" y="589"/>
                  </a:cubicBezTo>
                  <a:cubicBezTo>
                    <a:pt x="234" y="582"/>
                    <a:pt x="236" y="575"/>
                    <a:pt x="238" y="569"/>
                  </a:cubicBezTo>
                  <a:cubicBezTo>
                    <a:pt x="245" y="541"/>
                    <a:pt x="260" y="516"/>
                    <a:pt x="280" y="497"/>
                  </a:cubicBezTo>
                  <a:cubicBezTo>
                    <a:pt x="301" y="478"/>
                    <a:pt x="327" y="464"/>
                    <a:pt x="354" y="458"/>
                  </a:cubicBezTo>
                  <a:cubicBezTo>
                    <a:pt x="361" y="456"/>
                    <a:pt x="368" y="456"/>
                    <a:pt x="375" y="455"/>
                  </a:cubicBezTo>
                  <a:cubicBezTo>
                    <a:pt x="379" y="455"/>
                    <a:pt x="383" y="455"/>
                    <a:pt x="386" y="455"/>
                  </a:cubicBezTo>
                  <a:cubicBezTo>
                    <a:pt x="389" y="455"/>
                    <a:pt x="392" y="455"/>
                    <a:pt x="395" y="455"/>
                  </a:cubicBezTo>
                  <a:cubicBezTo>
                    <a:pt x="408" y="456"/>
                    <a:pt x="421" y="457"/>
                    <a:pt x="433" y="460"/>
                  </a:cubicBezTo>
                  <a:cubicBezTo>
                    <a:pt x="457" y="464"/>
                    <a:pt x="481" y="473"/>
                    <a:pt x="502" y="484"/>
                  </a:cubicBezTo>
                  <a:cubicBezTo>
                    <a:pt x="524" y="495"/>
                    <a:pt x="544" y="507"/>
                    <a:pt x="562" y="521"/>
                  </a:cubicBezTo>
                  <a:cubicBezTo>
                    <a:pt x="580" y="535"/>
                    <a:pt x="597" y="549"/>
                    <a:pt x="614" y="564"/>
                  </a:cubicBezTo>
                  <a:cubicBezTo>
                    <a:pt x="630" y="579"/>
                    <a:pt x="645" y="594"/>
                    <a:pt x="661" y="608"/>
                  </a:cubicBezTo>
                  <a:cubicBezTo>
                    <a:pt x="668" y="615"/>
                    <a:pt x="676" y="622"/>
                    <a:pt x="683" y="629"/>
                  </a:cubicBezTo>
                  <a:cubicBezTo>
                    <a:pt x="691" y="636"/>
                    <a:pt x="699" y="643"/>
                    <a:pt x="707" y="650"/>
                  </a:cubicBezTo>
                  <a:cubicBezTo>
                    <a:pt x="739" y="679"/>
                    <a:pt x="769" y="708"/>
                    <a:pt x="800" y="733"/>
                  </a:cubicBezTo>
                  <a:cubicBezTo>
                    <a:pt x="830" y="758"/>
                    <a:pt x="862" y="779"/>
                    <a:pt x="894" y="787"/>
                  </a:cubicBezTo>
                  <a:cubicBezTo>
                    <a:pt x="916" y="793"/>
                    <a:pt x="939" y="793"/>
                    <a:pt x="964" y="785"/>
                  </a:cubicBezTo>
                  <a:cubicBezTo>
                    <a:pt x="988" y="776"/>
                    <a:pt x="1014" y="761"/>
                    <a:pt x="1039" y="741"/>
                  </a:cubicBezTo>
                  <a:cubicBezTo>
                    <a:pt x="1064" y="722"/>
                    <a:pt x="1089" y="699"/>
                    <a:pt x="1115" y="676"/>
                  </a:cubicBezTo>
                  <a:cubicBezTo>
                    <a:pt x="1128" y="664"/>
                    <a:pt x="1142" y="652"/>
                    <a:pt x="1155" y="641"/>
                  </a:cubicBezTo>
                  <a:cubicBezTo>
                    <a:pt x="1165" y="632"/>
                    <a:pt x="1165" y="632"/>
                    <a:pt x="1165" y="632"/>
                  </a:cubicBezTo>
                  <a:cubicBezTo>
                    <a:pt x="1174" y="623"/>
                    <a:pt x="1174" y="623"/>
                    <a:pt x="1174" y="623"/>
                  </a:cubicBezTo>
                  <a:cubicBezTo>
                    <a:pt x="1181" y="617"/>
                    <a:pt x="1187" y="612"/>
                    <a:pt x="1194" y="606"/>
                  </a:cubicBezTo>
                  <a:cubicBezTo>
                    <a:pt x="1219" y="582"/>
                    <a:pt x="1246" y="557"/>
                    <a:pt x="1274" y="535"/>
                  </a:cubicBezTo>
                  <a:cubicBezTo>
                    <a:pt x="1302" y="513"/>
                    <a:pt x="1333" y="493"/>
                    <a:pt x="1367" y="480"/>
                  </a:cubicBezTo>
                  <a:cubicBezTo>
                    <a:pt x="1383" y="473"/>
                    <a:pt x="1401" y="468"/>
                    <a:pt x="1418" y="465"/>
                  </a:cubicBezTo>
                  <a:cubicBezTo>
                    <a:pt x="1426" y="464"/>
                    <a:pt x="1435" y="463"/>
                    <a:pt x="1444" y="462"/>
                  </a:cubicBezTo>
                  <a:cubicBezTo>
                    <a:pt x="1452" y="462"/>
                    <a:pt x="1460" y="461"/>
                    <a:pt x="1470" y="462"/>
                  </a:cubicBezTo>
                  <a:cubicBezTo>
                    <a:pt x="1488" y="463"/>
                    <a:pt x="1505" y="468"/>
                    <a:pt x="1521" y="475"/>
                  </a:cubicBezTo>
                  <a:cubicBezTo>
                    <a:pt x="1536" y="482"/>
                    <a:pt x="1549" y="492"/>
                    <a:pt x="1560" y="503"/>
                  </a:cubicBezTo>
                  <a:cubicBezTo>
                    <a:pt x="1584" y="525"/>
                    <a:pt x="1600" y="556"/>
                    <a:pt x="1604" y="589"/>
                  </a:cubicBezTo>
                  <a:cubicBezTo>
                    <a:pt x="1605" y="593"/>
                    <a:pt x="1605" y="597"/>
                    <a:pt x="1605" y="601"/>
                  </a:cubicBezTo>
                  <a:cubicBezTo>
                    <a:pt x="1605" y="603"/>
                    <a:pt x="1606" y="605"/>
                    <a:pt x="1606" y="607"/>
                  </a:cubicBezTo>
                  <a:cubicBezTo>
                    <a:pt x="1606" y="612"/>
                    <a:pt x="1606" y="612"/>
                    <a:pt x="1606" y="612"/>
                  </a:cubicBezTo>
                  <a:cubicBezTo>
                    <a:pt x="1605" y="619"/>
                    <a:pt x="1605" y="625"/>
                    <a:pt x="1605" y="632"/>
                  </a:cubicBezTo>
                  <a:cubicBezTo>
                    <a:pt x="1605" y="645"/>
                    <a:pt x="1605" y="658"/>
                    <a:pt x="1605" y="670"/>
                  </a:cubicBezTo>
                  <a:cubicBezTo>
                    <a:pt x="1605" y="696"/>
                    <a:pt x="1605" y="722"/>
                    <a:pt x="1605" y="747"/>
                  </a:cubicBezTo>
                  <a:cubicBezTo>
                    <a:pt x="1605" y="756"/>
                    <a:pt x="1605" y="756"/>
                    <a:pt x="1605" y="756"/>
                  </a:cubicBezTo>
                  <a:cubicBezTo>
                    <a:pt x="1605" y="760"/>
                    <a:pt x="1605" y="760"/>
                    <a:pt x="1605" y="760"/>
                  </a:cubicBezTo>
                  <a:cubicBezTo>
                    <a:pt x="1605" y="761"/>
                    <a:pt x="1605" y="762"/>
                    <a:pt x="1605" y="763"/>
                  </a:cubicBezTo>
                  <a:cubicBezTo>
                    <a:pt x="1605" y="768"/>
                    <a:pt x="1606" y="772"/>
                    <a:pt x="1607" y="776"/>
                  </a:cubicBezTo>
                  <a:cubicBezTo>
                    <a:pt x="1610" y="785"/>
                    <a:pt x="1614" y="793"/>
                    <a:pt x="1620" y="801"/>
                  </a:cubicBezTo>
                  <a:cubicBezTo>
                    <a:pt x="1631" y="817"/>
                    <a:pt x="1648" y="830"/>
                    <a:pt x="1666" y="840"/>
                  </a:cubicBezTo>
                  <a:cubicBezTo>
                    <a:pt x="1685" y="850"/>
                    <a:pt x="1705" y="856"/>
                    <a:pt x="1724" y="857"/>
                  </a:cubicBezTo>
                  <a:cubicBezTo>
                    <a:pt x="1725" y="857"/>
                    <a:pt x="1726" y="857"/>
                    <a:pt x="1727" y="857"/>
                  </a:cubicBezTo>
                  <a:cubicBezTo>
                    <a:pt x="1731" y="857"/>
                    <a:pt x="1731" y="857"/>
                    <a:pt x="1731" y="857"/>
                  </a:cubicBezTo>
                  <a:cubicBezTo>
                    <a:pt x="1740" y="857"/>
                    <a:pt x="1740" y="857"/>
                    <a:pt x="1740" y="857"/>
                  </a:cubicBezTo>
                  <a:cubicBezTo>
                    <a:pt x="1745" y="857"/>
                    <a:pt x="1751" y="857"/>
                    <a:pt x="1757" y="857"/>
                  </a:cubicBezTo>
                  <a:cubicBezTo>
                    <a:pt x="1765" y="857"/>
                    <a:pt x="1765" y="857"/>
                    <a:pt x="1765" y="857"/>
                  </a:cubicBezTo>
                  <a:cubicBezTo>
                    <a:pt x="1771" y="856"/>
                    <a:pt x="1771" y="856"/>
                    <a:pt x="1771" y="856"/>
                  </a:cubicBezTo>
                  <a:cubicBezTo>
                    <a:pt x="1773" y="856"/>
                    <a:pt x="1775" y="856"/>
                    <a:pt x="1777" y="856"/>
                  </a:cubicBezTo>
                  <a:cubicBezTo>
                    <a:pt x="1778" y="856"/>
                    <a:pt x="1779" y="856"/>
                    <a:pt x="1780" y="855"/>
                  </a:cubicBezTo>
                  <a:cubicBezTo>
                    <a:pt x="1781" y="855"/>
                    <a:pt x="1782" y="854"/>
                    <a:pt x="1783" y="853"/>
                  </a:cubicBezTo>
                  <a:cubicBezTo>
                    <a:pt x="1784" y="851"/>
                    <a:pt x="1784" y="849"/>
                    <a:pt x="1784" y="847"/>
                  </a:cubicBezTo>
                  <a:cubicBezTo>
                    <a:pt x="1784" y="844"/>
                    <a:pt x="1784" y="844"/>
                    <a:pt x="1784" y="844"/>
                  </a:cubicBezTo>
                  <a:cubicBezTo>
                    <a:pt x="1784" y="838"/>
                    <a:pt x="1784" y="838"/>
                    <a:pt x="1784" y="838"/>
                  </a:cubicBezTo>
                  <a:cubicBezTo>
                    <a:pt x="1784" y="832"/>
                    <a:pt x="1784" y="827"/>
                    <a:pt x="1784" y="821"/>
                  </a:cubicBezTo>
                  <a:cubicBezTo>
                    <a:pt x="1785" y="643"/>
                    <a:pt x="1782" y="182"/>
                    <a:pt x="1783" y="173"/>
                  </a:cubicBezTo>
                  <a:cubicBezTo>
                    <a:pt x="1783" y="164"/>
                    <a:pt x="1784" y="155"/>
                    <a:pt x="1782" y="148"/>
                  </a:cubicBezTo>
                  <a:cubicBezTo>
                    <a:pt x="1781" y="140"/>
                    <a:pt x="1778" y="129"/>
                    <a:pt x="1772" y="115"/>
                  </a:cubicBezTo>
                  <a:cubicBezTo>
                    <a:pt x="1766" y="102"/>
                    <a:pt x="1755" y="87"/>
                    <a:pt x="1738" y="74"/>
                  </a:cubicBezTo>
                  <a:cubicBezTo>
                    <a:pt x="1721" y="62"/>
                    <a:pt x="1698" y="53"/>
                    <a:pt x="1671" y="53"/>
                  </a:cubicBezTo>
                  <a:close/>
                  <a:moveTo>
                    <a:pt x="1823" y="846"/>
                  </a:moveTo>
                  <a:cubicBezTo>
                    <a:pt x="1822" y="821"/>
                    <a:pt x="1821" y="797"/>
                    <a:pt x="1820" y="770"/>
                  </a:cubicBezTo>
                  <a:cubicBezTo>
                    <a:pt x="1817" y="681"/>
                    <a:pt x="1814" y="523"/>
                    <a:pt x="1811" y="454"/>
                  </a:cubicBezTo>
                  <a:cubicBezTo>
                    <a:pt x="1809" y="416"/>
                    <a:pt x="1808" y="395"/>
                    <a:pt x="1806" y="431"/>
                  </a:cubicBezTo>
                  <a:cubicBezTo>
                    <a:pt x="1806" y="444"/>
                    <a:pt x="1805" y="453"/>
                    <a:pt x="1805" y="467"/>
                  </a:cubicBezTo>
                  <a:cubicBezTo>
                    <a:pt x="1802" y="506"/>
                    <a:pt x="1801" y="607"/>
                    <a:pt x="1799" y="659"/>
                  </a:cubicBezTo>
                  <a:cubicBezTo>
                    <a:pt x="1799" y="662"/>
                    <a:pt x="1799" y="664"/>
                    <a:pt x="1799" y="667"/>
                  </a:cubicBezTo>
                  <a:cubicBezTo>
                    <a:pt x="1798" y="691"/>
                    <a:pt x="1797" y="715"/>
                    <a:pt x="1796" y="742"/>
                  </a:cubicBezTo>
                  <a:cubicBezTo>
                    <a:pt x="1796" y="747"/>
                    <a:pt x="1796" y="752"/>
                    <a:pt x="1796" y="757"/>
                  </a:cubicBezTo>
                  <a:cubicBezTo>
                    <a:pt x="1796" y="774"/>
                    <a:pt x="1795" y="792"/>
                    <a:pt x="1795" y="810"/>
                  </a:cubicBezTo>
                  <a:cubicBezTo>
                    <a:pt x="1795" y="819"/>
                    <a:pt x="1794" y="829"/>
                    <a:pt x="1794" y="838"/>
                  </a:cubicBezTo>
                  <a:cubicBezTo>
                    <a:pt x="1794" y="840"/>
                    <a:pt x="1794" y="842"/>
                    <a:pt x="1794" y="844"/>
                  </a:cubicBezTo>
                  <a:cubicBezTo>
                    <a:pt x="1794" y="846"/>
                    <a:pt x="1794" y="847"/>
                    <a:pt x="1794" y="849"/>
                  </a:cubicBezTo>
                  <a:cubicBezTo>
                    <a:pt x="1794" y="852"/>
                    <a:pt x="1794" y="855"/>
                    <a:pt x="1793" y="858"/>
                  </a:cubicBezTo>
                  <a:cubicBezTo>
                    <a:pt x="1792" y="860"/>
                    <a:pt x="1791" y="862"/>
                    <a:pt x="1789" y="864"/>
                  </a:cubicBezTo>
                  <a:cubicBezTo>
                    <a:pt x="1787" y="865"/>
                    <a:pt x="1784" y="865"/>
                    <a:pt x="1782" y="865"/>
                  </a:cubicBezTo>
                  <a:cubicBezTo>
                    <a:pt x="1780" y="865"/>
                    <a:pt x="1777" y="866"/>
                    <a:pt x="1775" y="866"/>
                  </a:cubicBezTo>
                  <a:cubicBezTo>
                    <a:pt x="1772" y="866"/>
                    <a:pt x="1769" y="866"/>
                    <a:pt x="1766" y="866"/>
                  </a:cubicBezTo>
                  <a:cubicBezTo>
                    <a:pt x="1758" y="866"/>
                    <a:pt x="1750" y="866"/>
                    <a:pt x="1741" y="866"/>
                  </a:cubicBezTo>
                  <a:cubicBezTo>
                    <a:pt x="1737" y="866"/>
                    <a:pt x="1733" y="866"/>
                    <a:pt x="1729" y="866"/>
                  </a:cubicBezTo>
                  <a:cubicBezTo>
                    <a:pt x="1725" y="866"/>
                    <a:pt x="1721" y="865"/>
                    <a:pt x="1717" y="865"/>
                  </a:cubicBezTo>
                  <a:cubicBezTo>
                    <a:pt x="1702" y="863"/>
                    <a:pt x="1686" y="858"/>
                    <a:pt x="1670" y="851"/>
                  </a:cubicBezTo>
                  <a:cubicBezTo>
                    <a:pt x="1655" y="843"/>
                    <a:pt x="1640" y="833"/>
                    <a:pt x="1627" y="820"/>
                  </a:cubicBezTo>
                  <a:cubicBezTo>
                    <a:pt x="1614" y="807"/>
                    <a:pt x="1604" y="791"/>
                    <a:pt x="1600" y="774"/>
                  </a:cubicBezTo>
                  <a:cubicBezTo>
                    <a:pt x="1599" y="770"/>
                    <a:pt x="1599" y="765"/>
                    <a:pt x="1599" y="761"/>
                  </a:cubicBezTo>
                  <a:cubicBezTo>
                    <a:pt x="1599" y="760"/>
                    <a:pt x="1599" y="759"/>
                    <a:pt x="1599" y="758"/>
                  </a:cubicBezTo>
                  <a:cubicBezTo>
                    <a:pt x="1599" y="753"/>
                    <a:pt x="1599" y="753"/>
                    <a:pt x="1599" y="753"/>
                  </a:cubicBezTo>
                  <a:cubicBezTo>
                    <a:pt x="1599" y="750"/>
                    <a:pt x="1599" y="747"/>
                    <a:pt x="1599" y="744"/>
                  </a:cubicBezTo>
                  <a:cubicBezTo>
                    <a:pt x="1599" y="733"/>
                    <a:pt x="1599" y="721"/>
                    <a:pt x="1600" y="708"/>
                  </a:cubicBezTo>
                  <a:cubicBezTo>
                    <a:pt x="1600" y="684"/>
                    <a:pt x="1600" y="659"/>
                    <a:pt x="1601" y="633"/>
                  </a:cubicBezTo>
                  <a:cubicBezTo>
                    <a:pt x="1601" y="627"/>
                    <a:pt x="1601" y="620"/>
                    <a:pt x="1601" y="614"/>
                  </a:cubicBezTo>
                  <a:cubicBezTo>
                    <a:pt x="1601" y="609"/>
                    <a:pt x="1601" y="609"/>
                    <a:pt x="1601" y="609"/>
                  </a:cubicBezTo>
                  <a:cubicBezTo>
                    <a:pt x="1601" y="607"/>
                    <a:pt x="1601" y="605"/>
                    <a:pt x="1601" y="603"/>
                  </a:cubicBezTo>
                  <a:cubicBezTo>
                    <a:pt x="1601" y="599"/>
                    <a:pt x="1601" y="595"/>
                    <a:pt x="1600" y="591"/>
                  </a:cubicBezTo>
                  <a:cubicBezTo>
                    <a:pt x="1598" y="575"/>
                    <a:pt x="1594" y="560"/>
                    <a:pt x="1587" y="545"/>
                  </a:cubicBezTo>
                  <a:cubicBezTo>
                    <a:pt x="1576" y="523"/>
                    <a:pt x="1558" y="503"/>
                    <a:pt x="1536" y="488"/>
                  </a:cubicBezTo>
                  <a:cubicBezTo>
                    <a:pt x="1525" y="481"/>
                    <a:pt x="1513" y="475"/>
                    <a:pt x="1500" y="471"/>
                  </a:cubicBezTo>
                  <a:cubicBezTo>
                    <a:pt x="1487" y="467"/>
                    <a:pt x="1473" y="465"/>
                    <a:pt x="1460" y="465"/>
                  </a:cubicBezTo>
                  <a:cubicBezTo>
                    <a:pt x="1434" y="465"/>
                    <a:pt x="1408" y="469"/>
                    <a:pt x="1383" y="477"/>
                  </a:cubicBezTo>
                  <a:cubicBezTo>
                    <a:pt x="1357" y="485"/>
                    <a:pt x="1334" y="498"/>
                    <a:pt x="1311" y="512"/>
                  </a:cubicBezTo>
                  <a:cubicBezTo>
                    <a:pt x="1266" y="541"/>
                    <a:pt x="1227" y="578"/>
                    <a:pt x="1188" y="614"/>
                  </a:cubicBezTo>
                  <a:cubicBezTo>
                    <a:pt x="1178" y="623"/>
                    <a:pt x="1168" y="632"/>
                    <a:pt x="1158" y="641"/>
                  </a:cubicBezTo>
                  <a:cubicBezTo>
                    <a:pt x="1148" y="650"/>
                    <a:pt x="1137" y="659"/>
                    <a:pt x="1127" y="669"/>
                  </a:cubicBezTo>
                  <a:cubicBezTo>
                    <a:pt x="1106" y="688"/>
                    <a:pt x="1085" y="707"/>
                    <a:pt x="1063" y="725"/>
                  </a:cubicBezTo>
                  <a:cubicBezTo>
                    <a:pt x="1046" y="739"/>
                    <a:pt x="1029" y="753"/>
                    <a:pt x="1011" y="764"/>
                  </a:cubicBezTo>
                  <a:cubicBezTo>
                    <a:pt x="993" y="776"/>
                    <a:pt x="974" y="785"/>
                    <a:pt x="956" y="790"/>
                  </a:cubicBezTo>
                  <a:cubicBezTo>
                    <a:pt x="937" y="795"/>
                    <a:pt x="918" y="796"/>
                    <a:pt x="900" y="792"/>
                  </a:cubicBezTo>
                  <a:cubicBezTo>
                    <a:pt x="881" y="788"/>
                    <a:pt x="863" y="780"/>
                    <a:pt x="845" y="769"/>
                  </a:cubicBezTo>
                  <a:cubicBezTo>
                    <a:pt x="826" y="758"/>
                    <a:pt x="809" y="745"/>
                    <a:pt x="791" y="731"/>
                  </a:cubicBezTo>
                  <a:cubicBezTo>
                    <a:pt x="774" y="716"/>
                    <a:pt x="757" y="701"/>
                    <a:pt x="739" y="685"/>
                  </a:cubicBezTo>
                  <a:cubicBezTo>
                    <a:pt x="722" y="669"/>
                    <a:pt x="705" y="653"/>
                    <a:pt x="687" y="637"/>
                  </a:cubicBezTo>
                  <a:cubicBezTo>
                    <a:pt x="670" y="622"/>
                    <a:pt x="653" y="606"/>
                    <a:pt x="636" y="589"/>
                  </a:cubicBezTo>
                  <a:cubicBezTo>
                    <a:pt x="601" y="557"/>
                    <a:pt x="564" y="523"/>
                    <a:pt x="519" y="497"/>
                  </a:cubicBezTo>
                  <a:cubicBezTo>
                    <a:pt x="497" y="485"/>
                    <a:pt x="473" y="474"/>
                    <a:pt x="447" y="467"/>
                  </a:cubicBezTo>
                  <a:cubicBezTo>
                    <a:pt x="434" y="463"/>
                    <a:pt x="420" y="461"/>
                    <a:pt x="407" y="460"/>
                  </a:cubicBezTo>
                  <a:cubicBezTo>
                    <a:pt x="400" y="459"/>
                    <a:pt x="393" y="459"/>
                    <a:pt x="386" y="459"/>
                  </a:cubicBezTo>
                  <a:cubicBezTo>
                    <a:pt x="379" y="459"/>
                    <a:pt x="372" y="459"/>
                    <a:pt x="364" y="460"/>
                  </a:cubicBezTo>
                  <a:cubicBezTo>
                    <a:pt x="334" y="465"/>
                    <a:pt x="306" y="478"/>
                    <a:pt x="285" y="499"/>
                  </a:cubicBezTo>
                  <a:cubicBezTo>
                    <a:pt x="263" y="519"/>
                    <a:pt x="247" y="546"/>
                    <a:pt x="240" y="575"/>
                  </a:cubicBezTo>
                  <a:cubicBezTo>
                    <a:pt x="239" y="582"/>
                    <a:pt x="237" y="589"/>
                    <a:pt x="237" y="597"/>
                  </a:cubicBezTo>
                  <a:cubicBezTo>
                    <a:pt x="236" y="600"/>
                    <a:pt x="236" y="604"/>
                    <a:pt x="236" y="608"/>
                  </a:cubicBezTo>
                  <a:cubicBezTo>
                    <a:pt x="236" y="617"/>
                    <a:pt x="236" y="617"/>
                    <a:pt x="236" y="617"/>
                  </a:cubicBezTo>
                  <a:cubicBezTo>
                    <a:pt x="236" y="628"/>
                    <a:pt x="236" y="640"/>
                    <a:pt x="236" y="652"/>
                  </a:cubicBezTo>
                  <a:cubicBezTo>
                    <a:pt x="236" y="675"/>
                    <a:pt x="236" y="698"/>
                    <a:pt x="236" y="721"/>
                  </a:cubicBezTo>
                  <a:cubicBezTo>
                    <a:pt x="236" y="793"/>
                    <a:pt x="236" y="793"/>
                    <a:pt x="236" y="793"/>
                  </a:cubicBezTo>
                  <a:cubicBezTo>
                    <a:pt x="236" y="829"/>
                    <a:pt x="236" y="829"/>
                    <a:pt x="236" y="829"/>
                  </a:cubicBezTo>
                  <a:cubicBezTo>
                    <a:pt x="236" y="843"/>
                    <a:pt x="236" y="843"/>
                    <a:pt x="236" y="843"/>
                  </a:cubicBezTo>
                  <a:cubicBezTo>
                    <a:pt x="236" y="844"/>
                    <a:pt x="236" y="845"/>
                    <a:pt x="236" y="846"/>
                  </a:cubicBezTo>
                  <a:cubicBezTo>
                    <a:pt x="236" y="847"/>
                    <a:pt x="235" y="848"/>
                    <a:pt x="234" y="848"/>
                  </a:cubicBezTo>
                  <a:cubicBezTo>
                    <a:pt x="233" y="849"/>
                    <a:pt x="232" y="849"/>
                    <a:pt x="231" y="849"/>
                  </a:cubicBezTo>
                  <a:cubicBezTo>
                    <a:pt x="229" y="849"/>
                    <a:pt x="229" y="849"/>
                    <a:pt x="229" y="849"/>
                  </a:cubicBezTo>
                  <a:cubicBezTo>
                    <a:pt x="221" y="849"/>
                    <a:pt x="221" y="849"/>
                    <a:pt x="221" y="849"/>
                  </a:cubicBezTo>
                  <a:cubicBezTo>
                    <a:pt x="215" y="849"/>
                    <a:pt x="210" y="849"/>
                    <a:pt x="204" y="849"/>
                  </a:cubicBezTo>
                  <a:cubicBezTo>
                    <a:pt x="186" y="849"/>
                    <a:pt x="186" y="849"/>
                    <a:pt x="186" y="849"/>
                  </a:cubicBezTo>
                  <a:cubicBezTo>
                    <a:pt x="182" y="849"/>
                    <a:pt x="177" y="849"/>
                    <a:pt x="173" y="848"/>
                  </a:cubicBezTo>
                  <a:cubicBezTo>
                    <a:pt x="163" y="847"/>
                    <a:pt x="154" y="845"/>
                    <a:pt x="145" y="841"/>
                  </a:cubicBezTo>
                  <a:cubicBezTo>
                    <a:pt x="127" y="835"/>
                    <a:pt x="110" y="824"/>
                    <a:pt x="97" y="811"/>
                  </a:cubicBezTo>
                  <a:cubicBezTo>
                    <a:pt x="83" y="797"/>
                    <a:pt x="74" y="782"/>
                    <a:pt x="72" y="767"/>
                  </a:cubicBezTo>
                  <a:cubicBezTo>
                    <a:pt x="72" y="765"/>
                    <a:pt x="72" y="763"/>
                    <a:pt x="72" y="761"/>
                  </a:cubicBezTo>
                  <a:cubicBezTo>
                    <a:pt x="72" y="760"/>
                    <a:pt x="72" y="759"/>
                    <a:pt x="72" y="759"/>
                  </a:cubicBezTo>
                  <a:cubicBezTo>
                    <a:pt x="71" y="754"/>
                    <a:pt x="71" y="754"/>
                    <a:pt x="71" y="754"/>
                  </a:cubicBezTo>
                  <a:cubicBezTo>
                    <a:pt x="72" y="736"/>
                    <a:pt x="72" y="736"/>
                    <a:pt x="72" y="736"/>
                  </a:cubicBezTo>
                  <a:cubicBezTo>
                    <a:pt x="72" y="701"/>
                    <a:pt x="72" y="701"/>
                    <a:pt x="72" y="701"/>
                  </a:cubicBezTo>
                  <a:cubicBezTo>
                    <a:pt x="72" y="677"/>
                    <a:pt x="72" y="653"/>
                    <a:pt x="72" y="629"/>
                  </a:cubicBezTo>
                  <a:cubicBezTo>
                    <a:pt x="72" y="443"/>
                    <a:pt x="72" y="78"/>
                    <a:pt x="72" y="74"/>
                  </a:cubicBezTo>
                  <a:cubicBezTo>
                    <a:pt x="72" y="73"/>
                    <a:pt x="73" y="71"/>
                    <a:pt x="74" y="70"/>
                  </a:cubicBezTo>
                  <a:cubicBezTo>
                    <a:pt x="74" y="70"/>
                    <a:pt x="75" y="69"/>
                    <a:pt x="77" y="69"/>
                  </a:cubicBezTo>
                  <a:cubicBezTo>
                    <a:pt x="78" y="69"/>
                    <a:pt x="82" y="69"/>
                    <a:pt x="87" y="69"/>
                  </a:cubicBezTo>
                  <a:cubicBezTo>
                    <a:pt x="102" y="69"/>
                    <a:pt x="132" y="69"/>
                    <a:pt x="151" y="69"/>
                  </a:cubicBezTo>
                  <a:cubicBezTo>
                    <a:pt x="165" y="69"/>
                    <a:pt x="180" y="69"/>
                    <a:pt x="195" y="69"/>
                  </a:cubicBezTo>
                  <a:cubicBezTo>
                    <a:pt x="217" y="69"/>
                    <a:pt x="217" y="69"/>
                    <a:pt x="217" y="69"/>
                  </a:cubicBezTo>
                  <a:cubicBezTo>
                    <a:pt x="221" y="69"/>
                    <a:pt x="223" y="69"/>
                    <a:pt x="226" y="69"/>
                  </a:cubicBezTo>
                  <a:cubicBezTo>
                    <a:pt x="229" y="70"/>
                    <a:pt x="232" y="70"/>
                    <a:pt x="235" y="70"/>
                  </a:cubicBezTo>
                  <a:cubicBezTo>
                    <a:pt x="260" y="73"/>
                    <a:pt x="284" y="80"/>
                    <a:pt x="306" y="92"/>
                  </a:cubicBezTo>
                  <a:cubicBezTo>
                    <a:pt x="317" y="97"/>
                    <a:pt x="327" y="104"/>
                    <a:pt x="336" y="112"/>
                  </a:cubicBezTo>
                  <a:cubicBezTo>
                    <a:pt x="339" y="114"/>
                    <a:pt x="341" y="116"/>
                    <a:pt x="343" y="118"/>
                  </a:cubicBezTo>
                  <a:cubicBezTo>
                    <a:pt x="351" y="125"/>
                    <a:pt x="351" y="125"/>
                    <a:pt x="351" y="125"/>
                  </a:cubicBezTo>
                  <a:cubicBezTo>
                    <a:pt x="367" y="140"/>
                    <a:pt x="367" y="140"/>
                    <a:pt x="367" y="140"/>
                  </a:cubicBezTo>
                  <a:cubicBezTo>
                    <a:pt x="425" y="195"/>
                    <a:pt x="484" y="250"/>
                    <a:pt x="542" y="303"/>
                  </a:cubicBezTo>
                  <a:cubicBezTo>
                    <a:pt x="543" y="303"/>
                    <a:pt x="543" y="303"/>
                    <a:pt x="543" y="303"/>
                  </a:cubicBezTo>
                  <a:cubicBezTo>
                    <a:pt x="544" y="305"/>
                    <a:pt x="544" y="305"/>
                    <a:pt x="544" y="305"/>
                  </a:cubicBezTo>
                  <a:cubicBezTo>
                    <a:pt x="547" y="308"/>
                    <a:pt x="547" y="308"/>
                    <a:pt x="547" y="308"/>
                  </a:cubicBezTo>
                  <a:cubicBezTo>
                    <a:pt x="552" y="313"/>
                    <a:pt x="552" y="313"/>
                    <a:pt x="552" y="313"/>
                  </a:cubicBezTo>
                  <a:cubicBezTo>
                    <a:pt x="556" y="317"/>
                    <a:pt x="560" y="320"/>
                    <a:pt x="564" y="323"/>
                  </a:cubicBezTo>
                  <a:cubicBezTo>
                    <a:pt x="572" y="330"/>
                    <a:pt x="580" y="337"/>
                    <a:pt x="588" y="343"/>
                  </a:cubicBezTo>
                  <a:cubicBezTo>
                    <a:pt x="604" y="356"/>
                    <a:pt x="621" y="367"/>
                    <a:pt x="639" y="378"/>
                  </a:cubicBezTo>
                  <a:cubicBezTo>
                    <a:pt x="673" y="398"/>
                    <a:pt x="710" y="414"/>
                    <a:pt x="746" y="426"/>
                  </a:cubicBezTo>
                  <a:cubicBezTo>
                    <a:pt x="782" y="438"/>
                    <a:pt x="819" y="445"/>
                    <a:pt x="854" y="449"/>
                  </a:cubicBezTo>
                  <a:cubicBezTo>
                    <a:pt x="889" y="452"/>
                    <a:pt x="922" y="453"/>
                    <a:pt x="954" y="451"/>
                  </a:cubicBezTo>
                  <a:cubicBezTo>
                    <a:pt x="1018" y="446"/>
                    <a:pt x="1073" y="432"/>
                    <a:pt x="1117" y="414"/>
                  </a:cubicBezTo>
                  <a:cubicBezTo>
                    <a:pt x="1157" y="398"/>
                    <a:pt x="1194" y="378"/>
                    <a:pt x="1225" y="355"/>
                  </a:cubicBezTo>
                  <a:cubicBezTo>
                    <a:pt x="1241" y="344"/>
                    <a:pt x="1256" y="332"/>
                    <a:pt x="1270" y="319"/>
                  </a:cubicBezTo>
                  <a:cubicBezTo>
                    <a:pt x="1277" y="313"/>
                    <a:pt x="1284" y="307"/>
                    <a:pt x="1290" y="300"/>
                  </a:cubicBezTo>
                  <a:cubicBezTo>
                    <a:pt x="1297" y="294"/>
                    <a:pt x="1303" y="288"/>
                    <a:pt x="1309" y="282"/>
                  </a:cubicBezTo>
                  <a:cubicBezTo>
                    <a:pt x="1393" y="199"/>
                    <a:pt x="1459" y="134"/>
                    <a:pt x="1489" y="102"/>
                  </a:cubicBezTo>
                  <a:cubicBezTo>
                    <a:pt x="1504" y="87"/>
                    <a:pt x="1516" y="74"/>
                    <a:pt x="1527" y="63"/>
                  </a:cubicBezTo>
                  <a:cubicBezTo>
                    <a:pt x="1528" y="61"/>
                    <a:pt x="1529" y="60"/>
                    <a:pt x="1530" y="59"/>
                  </a:cubicBezTo>
                  <a:cubicBezTo>
                    <a:pt x="1531" y="58"/>
                    <a:pt x="1532" y="57"/>
                    <a:pt x="1533" y="55"/>
                  </a:cubicBezTo>
                  <a:cubicBezTo>
                    <a:pt x="1534" y="55"/>
                    <a:pt x="1534" y="54"/>
                    <a:pt x="1535" y="54"/>
                  </a:cubicBezTo>
                  <a:cubicBezTo>
                    <a:pt x="1535" y="53"/>
                    <a:pt x="1536" y="53"/>
                    <a:pt x="1536" y="53"/>
                  </a:cubicBezTo>
                  <a:cubicBezTo>
                    <a:pt x="1537" y="51"/>
                    <a:pt x="1538" y="50"/>
                    <a:pt x="1539" y="49"/>
                  </a:cubicBezTo>
                  <a:cubicBezTo>
                    <a:pt x="1542" y="48"/>
                    <a:pt x="1544" y="47"/>
                    <a:pt x="1546" y="46"/>
                  </a:cubicBezTo>
                  <a:cubicBezTo>
                    <a:pt x="1548" y="45"/>
                    <a:pt x="1550" y="44"/>
                    <a:pt x="1552" y="43"/>
                  </a:cubicBezTo>
                  <a:cubicBezTo>
                    <a:pt x="1552" y="42"/>
                    <a:pt x="1563" y="37"/>
                    <a:pt x="1565" y="36"/>
                  </a:cubicBezTo>
                  <a:cubicBezTo>
                    <a:pt x="1570" y="33"/>
                    <a:pt x="1570" y="31"/>
                    <a:pt x="1552" y="28"/>
                  </a:cubicBezTo>
                  <a:cubicBezTo>
                    <a:pt x="1551" y="28"/>
                    <a:pt x="1551" y="28"/>
                    <a:pt x="1551" y="28"/>
                  </a:cubicBezTo>
                  <a:cubicBezTo>
                    <a:pt x="1549" y="28"/>
                    <a:pt x="1549" y="28"/>
                    <a:pt x="1549" y="28"/>
                  </a:cubicBezTo>
                  <a:cubicBezTo>
                    <a:pt x="1547" y="29"/>
                    <a:pt x="1544" y="29"/>
                    <a:pt x="1541" y="30"/>
                  </a:cubicBezTo>
                  <a:cubicBezTo>
                    <a:pt x="1540" y="31"/>
                    <a:pt x="1538" y="31"/>
                    <a:pt x="1536" y="32"/>
                  </a:cubicBezTo>
                  <a:cubicBezTo>
                    <a:pt x="1534" y="32"/>
                    <a:pt x="1532" y="33"/>
                    <a:pt x="1529" y="34"/>
                  </a:cubicBezTo>
                  <a:cubicBezTo>
                    <a:pt x="1523" y="39"/>
                    <a:pt x="1516" y="45"/>
                    <a:pt x="1507" y="51"/>
                  </a:cubicBezTo>
                  <a:cubicBezTo>
                    <a:pt x="1499" y="58"/>
                    <a:pt x="1489" y="66"/>
                    <a:pt x="1478" y="75"/>
                  </a:cubicBezTo>
                  <a:cubicBezTo>
                    <a:pt x="1449" y="99"/>
                    <a:pt x="1366" y="175"/>
                    <a:pt x="1260" y="273"/>
                  </a:cubicBezTo>
                  <a:cubicBezTo>
                    <a:pt x="1256" y="276"/>
                    <a:pt x="1253" y="279"/>
                    <a:pt x="1250" y="282"/>
                  </a:cubicBezTo>
                  <a:cubicBezTo>
                    <a:pt x="1247" y="285"/>
                    <a:pt x="1243" y="288"/>
                    <a:pt x="1240" y="290"/>
                  </a:cubicBezTo>
                  <a:cubicBezTo>
                    <a:pt x="1233" y="296"/>
                    <a:pt x="1226" y="302"/>
                    <a:pt x="1219" y="307"/>
                  </a:cubicBezTo>
                  <a:cubicBezTo>
                    <a:pt x="1205" y="318"/>
                    <a:pt x="1189" y="328"/>
                    <a:pt x="1173" y="337"/>
                  </a:cubicBezTo>
                  <a:cubicBezTo>
                    <a:pt x="1140" y="356"/>
                    <a:pt x="1104" y="371"/>
                    <a:pt x="1066" y="382"/>
                  </a:cubicBezTo>
                  <a:cubicBezTo>
                    <a:pt x="991" y="403"/>
                    <a:pt x="908" y="407"/>
                    <a:pt x="831" y="392"/>
                  </a:cubicBezTo>
                  <a:cubicBezTo>
                    <a:pt x="762" y="379"/>
                    <a:pt x="696" y="352"/>
                    <a:pt x="640" y="311"/>
                  </a:cubicBezTo>
                  <a:cubicBezTo>
                    <a:pt x="626" y="301"/>
                    <a:pt x="612" y="290"/>
                    <a:pt x="600" y="278"/>
                  </a:cubicBezTo>
                  <a:cubicBezTo>
                    <a:pt x="597" y="275"/>
                    <a:pt x="593" y="272"/>
                    <a:pt x="590" y="269"/>
                  </a:cubicBezTo>
                  <a:cubicBezTo>
                    <a:pt x="586" y="264"/>
                    <a:pt x="586" y="264"/>
                    <a:pt x="586" y="264"/>
                  </a:cubicBezTo>
                  <a:cubicBezTo>
                    <a:pt x="583" y="262"/>
                    <a:pt x="583" y="262"/>
                    <a:pt x="583" y="262"/>
                  </a:cubicBezTo>
                  <a:cubicBezTo>
                    <a:pt x="580" y="259"/>
                    <a:pt x="580" y="259"/>
                    <a:pt x="580" y="259"/>
                  </a:cubicBezTo>
                  <a:cubicBezTo>
                    <a:pt x="560" y="240"/>
                    <a:pt x="560" y="240"/>
                    <a:pt x="560" y="240"/>
                  </a:cubicBezTo>
                  <a:cubicBezTo>
                    <a:pt x="534" y="215"/>
                    <a:pt x="508" y="190"/>
                    <a:pt x="481" y="164"/>
                  </a:cubicBezTo>
                  <a:cubicBezTo>
                    <a:pt x="454" y="139"/>
                    <a:pt x="428" y="113"/>
                    <a:pt x="401" y="88"/>
                  </a:cubicBezTo>
                  <a:cubicBezTo>
                    <a:pt x="391" y="78"/>
                    <a:pt x="391" y="78"/>
                    <a:pt x="391" y="78"/>
                  </a:cubicBezTo>
                  <a:cubicBezTo>
                    <a:pt x="386" y="73"/>
                    <a:pt x="386" y="73"/>
                    <a:pt x="386" y="73"/>
                  </a:cubicBezTo>
                  <a:cubicBezTo>
                    <a:pt x="384" y="71"/>
                    <a:pt x="382" y="69"/>
                    <a:pt x="380" y="68"/>
                  </a:cubicBezTo>
                  <a:cubicBezTo>
                    <a:pt x="372" y="61"/>
                    <a:pt x="364" y="55"/>
                    <a:pt x="355" y="49"/>
                  </a:cubicBezTo>
                  <a:cubicBezTo>
                    <a:pt x="338" y="37"/>
                    <a:pt x="319" y="27"/>
                    <a:pt x="299" y="20"/>
                  </a:cubicBezTo>
                  <a:cubicBezTo>
                    <a:pt x="279" y="13"/>
                    <a:pt x="258" y="9"/>
                    <a:pt x="237" y="7"/>
                  </a:cubicBezTo>
                  <a:cubicBezTo>
                    <a:pt x="234" y="7"/>
                    <a:pt x="232" y="6"/>
                    <a:pt x="229" y="6"/>
                  </a:cubicBezTo>
                  <a:cubicBezTo>
                    <a:pt x="225" y="6"/>
                    <a:pt x="225" y="6"/>
                    <a:pt x="225" y="6"/>
                  </a:cubicBezTo>
                  <a:cubicBezTo>
                    <a:pt x="221" y="6"/>
                    <a:pt x="221" y="6"/>
                    <a:pt x="221" y="6"/>
                  </a:cubicBezTo>
                  <a:cubicBezTo>
                    <a:pt x="206" y="6"/>
                    <a:pt x="206" y="6"/>
                    <a:pt x="206" y="6"/>
                  </a:cubicBezTo>
                  <a:cubicBezTo>
                    <a:pt x="197" y="6"/>
                    <a:pt x="188" y="6"/>
                    <a:pt x="178" y="6"/>
                  </a:cubicBezTo>
                  <a:cubicBezTo>
                    <a:pt x="136" y="5"/>
                    <a:pt x="91" y="5"/>
                    <a:pt x="50" y="5"/>
                  </a:cubicBezTo>
                  <a:cubicBezTo>
                    <a:pt x="48" y="5"/>
                    <a:pt x="47" y="5"/>
                    <a:pt x="45" y="5"/>
                  </a:cubicBezTo>
                  <a:cubicBezTo>
                    <a:pt x="44" y="5"/>
                    <a:pt x="43" y="5"/>
                    <a:pt x="42" y="5"/>
                  </a:cubicBezTo>
                  <a:cubicBezTo>
                    <a:pt x="9" y="9"/>
                    <a:pt x="7" y="36"/>
                    <a:pt x="7" y="47"/>
                  </a:cubicBezTo>
                  <a:cubicBezTo>
                    <a:pt x="7" y="54"/>
                    <a:pt x="7" y="61"/>
                    <a:pt x="7" y="68"/>
                  </a:cubicBezTo>
                  <a:cubicBezTo>
                    <a:pt x="7" y="95"/>
                    <a:pt x="7" y="138"/>
                    <a:pt x="7" y="167"/>
                  </a:cubicBezTo>
                  <a:cubicBezTo>
                    <a:pt x="6" y="267"/>
                    <a:pt x="6" y="368"/>
                    <a:pt x="5" y="475"/>
                  </a:cubicBezTo>
                  <a:cubicBezTo>
                    <a:pt x="5" y="525"/>
                    <a:pt x="5" y="577"/>
                    <a:pt x="4" y="630"/>
                  </a:cubicBezTo>
                  <a:cubicBezTo>
                    <a:pt x="4" y="657"/>
                    <a:pt x="4" y="683"/>
                    <a:pt x="4" y="710"/>
                  </a:cubicBezTo>
                  <a:cubicBezTo>
                    <a:pt x="4" y="724"/>
                    <a:pt x="4" y="737"/>
                    <a:pt x="4" y="751"/>
                  </a:cubicBezTo>
                  <a:cubicBezTo>
                    <a:pt x="4" y="756"/>
                    <a:pt x="4" y="756"/>
                    <a:pt x="4" y="756"/>
                  </a:cubicBezTo>
                  <a:cubicBezTo>
                    <a:pt x="4" y="759"/>
                    <a:pt x="4" y="759"/>
                    <a:pt x="4" y="759"/>
                  </a:cubicBezTo>
                  <a:cubicBezTo>
                    <a:pt x="4" y="762"/>
                    <a:pt x="4" y="762"/>
                    <a:pt x="4" y="762"/>
                  </a:cubicBezTo>
                  <a:cubicBezTo>
                    <a:pt x="4" y="767"/>
                    <a:pt x="5" y="771"/>
                    <a:pt x="5" y="776"/>
                  </a:cubicBezTo>
                  <a:cubicBezTo>
                    <a:pt x="7" y="785"/>
                    <a:pt x="9" y="794"/>
                    <a:pt x="12" y="803"/>
                  </a:cubicBezTo>
                  <a:cubicBezTo>
                    <a:pt x="19" y="820"/>
                    <a:pt x="28" y="835"/>
                    <a:pt x="39" y="848"/>
                  </a:cubicBezTo>
                  <a:cubicBezTo>
                    <a:pt x="51" y="861"/>
                    <a:pt x="63" y="872"/>
                    <a:pt x="77" y="882"/>
                  </a:cubicBezTo>
                  <a:cubicBezTo>
                    <a:pt x="91" y="891"/>
                    <a:pt x="105" y="898"/>
                    <a:pt x="121" y="904"/>
                  </a:cubicBezTo>
                  <a:cubicBezTo>
                    <a:pt x="136" y="910"/>
                    <a:pt x="153" y="914"/>
                    <a:pt x="170" y="916"/>
                  </a:cubicBezTo>
                  <a:cubicBezTo>
                    <a:pt x="174" y="917"/>
                    <a:pt x="179" y="917"/>
                    <a:pt x="183" y="917"/>
                  </a:cubicBezTo>
                  <a:cubicBezTo>
                    <a:pt x="195" y="917"/>
                    <a:pt x="195" y="917"/>
                    <a:pt x="195" y="917"/>
                  </a:cubicBezTo>
                  <a:cubicBezTo>
                    <a:pt x="202" y="917"/>
                    <a:pt x="209" y="917"/>
                    <a:pt x="216" y="917"/>
                  </a:cubicBezTo>
                  <a:cubicBezTo>
                    <a:pt x="228" y="917"/>
                    <a:pt x="228" y="917"/>
                    <a:pt x="228" y="917"/>
                  </a:cubicBezTo>
                  <a:cubicBezTo>
                    <a:pt x="233" y="916"/>
                    <a:pt x="233" y="916"/>
                    <a:pt x="233" y="916"/>
                  </a:cubicBezTo>
                  <a:cubicBezTo>
                    <a:pt x="238" y="916"/>
                    <a:pt x="238" y="916"/>
                    <a:pt x="238" y="916"/>
                  </a:cubicBezTo>
                  <a:cubicBezTo>
                    <a:pt x="243" y="916"/>
                    <a:pt x="243" y="916"/>
                    <a:pt x="243" y="916"/>
                  </a:cubicBezTo>
                  <a:cubicBezTo>
                    <a:pt x="256" y="914"/>
                    <a:pt x="269" y="913"/>
                    <a:pt x="279" y="906"/>
                  </a:cubicBezTo>
                  <a:cubicBezTo>
                    <a:pt x="284" y="904"/>
                    <a:pt x="289" y="899"/>
                    <a:pt x="293" y="894"/>
                  </a:cubicBezTo>
                  <a:cubicBezTo>
                    <a:pt x="296" y="890"/>
                    <a:pt x="299" y="884"/>
                    <a:pt x="301" y="879"/>
                  </a:cubicBezTo>
                  <a:cubicBezTo>
                    <a:pt x="301" y="876"/>
                    <a:pt x="302" y="873"/>
                    <a:pt x="303" y="870"/>
                  </a:cubicBezTo>
                  <a:cubicBezTo>
                    <a:pt x="303" y="866"/>
                    <a:pt x="303" y="863"/>
                    <a:pt x="303" y="860"/>
                  </a:cubicBezTo>
                  <a:cubicBezTo>
                    <a:pt x="303" y="841"/>
                    <a:pt x="303" y="841"/>
                    <a:pt x="303" y="841"/>
                  </a:cubicBezTo>
                  <a:cubicBezTo>
                    <a:pt x="303" y="827"/>
                    <a:pt x="303" y="813"/>
                    <a:pt x="303" y="799"/>
                  </a:cubicBezTo>
                  <a:cubicBezTo>
                    <a:pt x="303" y="742"/>
                    <a:pt x="303" y="685"/>
                    <a:pt x="303" y="628"/>
                  </a:cubicBezTo>
                  <a:cubicBezTo>
                    <a:pt x="304" y="607"/>
                    <a:pt x="304" y="607"/>
                    <a:pt x="304" y="607"/>
                  </a:cubicBezTo>
                  <a:cubicBezTo>
                    <a:pt x="304" y="602"/>
                    <a:pt x="304" y="597"/>
                    <a:pt x="305" y="592"/>
                  </a:cubicBezTo>
                  <a:cubicBezTo>
                    <a:pt x="307" y="582"/>
                    <a:pt x="311" y="573"/>
                    <a:pt x="317" y="564"/>
                  </a:cubicBezTo>
                  <a:cubicBezTo>
                    <a:pt x="328" y="547"/>
                    <a:pt x="345" y="534"/>
                    <a:pt x="364" y="529"/>
                  </a:cubicBezTo>
                  <a:cubicBezTo>
                    <a:pt x="369" y="527"/>
                    <a:pt x="374" y="526"/>
                    <a:pt x="379" y="526"/>
                  </a:cubicBezTo>
                  <a:cubicBezTo>
                    <a:pt x="381" y="526"/>
                    <a:pt x="383" y="526"/>
                    <a:pt x="386" y="526"/>
                  </a:cubicBezTo>
                  <a:cubicBezTo>
                    <a:pt x="389" y="526"/>
                    <a:pt x="392" y="526"/>
                    <a:pt x="395" y="526"/>
                  </a:cubicBezTo>
                  <a:cubicBezTo>
                    <a:pt x="407" y="526"/>
                    <a:pt x="419" y="528"/>
                    <a:pt x="430" y="531"/>
                  </a:cubicBezTo>
                  <a:cubicBezTo>
                    <a:pt x="454" y="537"/>
                    <a:pt x="476" y="548"/>
                    <a:pt x="498" y="562"/>
                  </a:cubicBezTo>
                  <a:cubicBezTo>
                    <a:pt x="520" y="576"/>
                    <a:pt x="541" y="593"/>
                    <a:pt x="561" y="611"/>
                  </a:cubicBezTo>
                  <a:cubicBezTo>
                    <a:pt x="582" y="628"/>
                    <a:pt x="602" y="648"/>
                    <a:pt x="623" y="667"/>
                  </a:cubicBezTo>
                  <a:cubicBezTo>
                    <a:pt x="633" y="677"/>
                    <a:pt x="644" y="687"/>
                    <a:pt x="654" y="695"/>
                  </a:cubicBezTo>
                  <a:cubicBezTo>
                    <a:pt x="665" y="705"/>
                    <a:pt x="675" y="714"/>
                    <a:pt x="685" y="723"/>
                  </a:cubicBezTo>
                  <a:cubicBezTo>
                    <a:pt x="706" y="742"/>
                    <a:pt x="726" y="761"/>
                    <a:pt x="748" y="779"/>
                  </a:cubicBezTo>
                  <a:cubicBezTo>
                    <a:pt x="770" y="797"/>
                    <a:pt x="794" y="815"/>
                    <a:pt x="820" y="829"/>
                  </a:cubicBezTo>
                  <a:cubicBezTo>
                    <a:pt x="834" y="837"/>
                    <a:pt x="848" y="843"/>
                    <a:pt x="863" y="848"/>
                  </a:cubicBezTo>
                  <a:cubicBezTo>
                    <a:pt x="878" y="853"/>
                    <a:pt x="894" y="856"/>
                    <a:pt x="911" y="857"/>
                  </a:cubicBezTo>
                  <a:cubicBezTo>
                    <a:pt x="927" y="858"/>
                    <a:pt x="943" y="857"/>
                    <a:pt x="959" y="854"/>
                  </a:cubicBezTo>
                  <a:cubicBezTo>
                    <a:pt x="974" y="851"/>
                    <a:pt x="989" y="846"/>
                    <a:pt x="1003" y="840"/>
                  </a:cubicBezTo>
                  <a:cubicBezTo>
                    <a:pt x="1031" y="827"/>
                    <a:pt x="1054" y="811"/>
                    <a:pt x="1076" y="795"/>
                  </a:cubicBezTo>
                  <a:cubicBezTo>
                    <a:pt x="1097" y="778"/>
                    <a:pt x="1117" y="761"/>
                    <a:pt x="1135" y="744"/>
                  </a:cubicBezTo>
                  <a:cubicBezTo>
                    <a:pt x="1154" y="727"/>
                    <a:pt x="1172" y="710"/>
                    <a:pt x="1190" y="694"/>
                  </a:cubicBezTo>
                  <a:cubicBezTo>
                    <a:pt x="1195" y="690"/>
                    <a:pt x="1199" y="686"/>
                    <a:pt x="1203" y="682"/>
                  </a:cubicBezTo>
                  <a:cubicBezTo>
                    <a:pt x="1208" y="678"/>
                    <a:pt x="1213" y="673"/>
                    <a:pt x="1217" y="669"/>
                  </a:cubicBezTo>
                  <a:cubicBezTo>
                    <a:pt x="1226" y="661"/>
                    <a:pt x="1235" y="653"/>
                    <a:pt x="1243" y="644"/>
                  </a:cubicBezTo>
                  <a:cubicBezTo>
                    <a:pt x="1260" y="628"/>
                    <a:pt x="1277" y="613"/>
                    <a:pt x="1294" y="598"/>
                  </a:cubicBezTo>
                  <a:cubicBezTo>
                    <a:pt x="1327" y="569"/>
                    <a:pt x="1361" y="546"/>
                    <a:pt x="1396" y="532"/>
                  </a:cubicBezTo>
                  <a:cubicBezTo>
                    <a:pt x="1414" y="526"/>
                    <a:pt x="1431" y="522"/>
                    <a:pt x="1449" y="520"/>
                  </a:cubicBezTo>
                  <a:cubicBezTo>
                    <a:pt x="1453" y="520"/>
                    <a:pt x="1458" y="520"/>
                    <a:pt x="1462" y="520"/>
                  </a:cubicBezTo>
                  <a:cubicBezTo>
                    <a:pt x="1465" y="520"/>
                    <a:pt x="1469" y="520"/>
                    <a:pt x="1473" y="520"/>
                  </a:cubicBezTo>
                  <a:cubicBezTo>
                    <a:pt x="1480" y="521"/>
                    <a:pt x="1487" y="523"/>
                    <a:pt x="1494" y="526"/>
                  </a:cubicBezTo>
                  <a:cubicBezTo>
                    <a:pt x="1508" y="532"/>
                    <a:pt x="1520" y="541"/>
                    <a:pt x="1529" y="551"/>
                  </a:cubicBezTo>
                  <a:cubicBezTo>
                    <a:pt x="1538" y="562"/>
                    <a:pt x="1544" y="575"/>
                    <a:pt x="1548" y="588"/>
                  </a:cubicBezTo>
                  <a:cubicBezTo>
                    <a:pt x="1550" y="594"/>
                    <a:pt x="1550" y="601"/>
                    <a:pt x="1551" y="607"/>
                  </a:cubicBezTo>
                  <a:cubicBezTo>
                    <a:pt x="1551" y="616"/>
                    <a:pt x="1551" y="624"/>
                    <a:pt x="1551" y="632"/>
                  </a:cubicBezTo>
                  <a:cubicBezTo>
                    <a:pt x="1551" y="649"/>
                    <a:pt x="1552" y="665"/>
                    <a:pt x="1552" y="680"/>
                  </a:cubicBezTo>
                  <a:cubicBezTo>
                    <a:pt x="1552" y="696"/>
                    <a:pt x="1552" y="711"/>
                    <a:pt x="1553" y="726"/>
                  </a:cubicBezTo>
                  <a:cubicBezTo>
                    <a:pt x="1553" y="733"/>
                    <a:pt x="1553" y="741"/>
                    <a:pt x="1553" y="748"/>
                  </a:cubicBezTo>
                  <a:cubicBezTo>
                    <a:pt x="1553" y="751"/>
                    <a:pt x="1553" y="755"/>
                    <a:pt x="1553" y="759"/>
                  </a:cubicBezTo>
                  <a:cubicBezTo>
                    <a:pt x="1553" y="763"/>
                    <a:pt x="1554" y="767"/>
                    <a:pt x="1554" y="772"/>
                  </a:cubicBezTo>
                  <a:cubicBezTo>
                    <a:pt x="1557" y="789"/>
                    <a:pt x="1563" y="804"/>
                    <a:pt x="1570" y="817"/>
                  </a:cubicBezTo>
                  <a:cubicBezTo>
                    <a:pt x="1578" y="830"/>
                    <a:pt x="1587" y="840"/>
                    <a:pt x="1597" y="849"/>
                  </a:cubicBezTo>
                  <a:cubicBezTo>
                    <a:pt x="1615" y="867"/>
                    <a:pt x="1636" y="879"/>
                    <a:pt x="1655" y="887"/>
                  </a:cubicBezTo>
                  <a:cubicBezTo>
                    <a:pt x="1674" y="895"/>
                    <a:pt x="1693" y="899"/>
                    <a:pt x="1711" y="901"/>
                  </a:cubicBezTo>
                  <a:cubicBezTo>
                    <a:pt x="1720" y="902"/>
                    <a:pt x="1730" y="902"/>
                    <a:pt x="1737" y="901"/>
                  </a:cubicBezTo>
                  <a:cubicBezTo>
                    <a:pt x="1745" y="901"/>
                    <a:pt x="1752" y="901"/>
                    <a:pt x="1759" y="900"/>
                  </a:cubicBezTo>
                  <a:cubicBezTo>
                    <a:pt x="1763" y="900"/>
                    <a:pt x="1766" y="899"/>
                    <a:pt x="1770" y="899"/>
                  </a:cubicBezTo>
                  <a:cubicBezTo>
                    <a:pt x="1772" y="899"/>
                    <a:pt x="1774" y="899"/>
                    <a:pt x="1776" y="899"/>
                  </a:cubicBezTo>
                  <a:cubicBezTo>
                    <a:pt x="1778" y="898"/>
                    <a:pt x="1781" y="898"/>
                    <a:pt x="1783" y="898"/>
                  </a:cubicBezTo>
                  <a:cubicBezTo>
                    <a:pt x="1793" y="897"/>
                    <a:pt x="1801" y="895"/>
                    <a:pt x="1809" y="891"/>
                  </a:cubicBezTo>
                  <a:cubicBezTo>
                    <a:pt x="1812" y="889"/>
                    <a:pt x="1815" y="886"/>
                    <a:pt x="1818" y="883"/>
                  </a:cubicBezTo>
                  <a:cubicBezTo>
                    <a:pt x="1820" y="879"/>
                    <a:pt x="1821" y="875"/>
                    <a:pt x="1822" y="871"/>
                  </a:cubicBezTo>
                  <a:cubicBezTo>
                    <a:pt x="1824" y="863"/>
                    <a:pt x="1823" y="855"/>
                    <a:pt x="1823" y="8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1" name="Freeform 18">
              <a:extLst>
                <a:ext uri="{FF2B5EF4-FFF2-40B4-BE49-F238E27FC236}">
                  <a16:creationId xmlns:a16="http://schemas.microsoft.com/office/drawing/2014/main" id="{FF106BE3-A762-49A9-96B8-089DCB91B6E9}"/>
                </a:ext>
              </a:extLst>
            </p:cNvPr>
            <p:cNvSpPr>
              <a:spLocks noEditPoints="1"/>
            </p:cNvSpPr>
            <p:nvPr>
              <p:custDataLst>
                <p:tags r:id="rId3"/>
              </p:custDataLst>
            </p:nvPr>
          </p:nvSpPr>
          <p:spPr bwMode="gray">
            <a:xfrm>
              <a:off x="2663826" y="1716088"/>
              <a:ext cx="6837363" cy="3429000"/>
            </a:xfrm>
            <a:custGeom>
              <a:avLst/>
              <a:gdLst>
                <a:gd name="T0" fmla="*/ 766 w 1820"/>
                <a:gd name="T1" fmla="*/ 724 h 912"/>
                <a:gd name="T2" fmla="*/ 242 w 1820"/>
                <a:gd name="T3" fmla="*/ 667 h 912"/>
                <a:gd name="T4" fmla="*/ 177 w 1820"/>
                <a:gd name="T5" fmla="*/ 856 h 912"/>
                <a:gd name="T6" fmla="*/ 53 w 1820"/>
                <a:gd name="T7" fmla="*/ 533 h 912"/>
                <a:gd name="T8" fmla="*/ 364 w 1820"/>
                <a:gd name="T9" fmla="*/ 112 h 912"/>
                <a:gd name="T10" fmla="*/ 918 w 1820"/>
                <a:gd name="T11" fmla="*/ 427 h 912"/>
                <a:gd name="T12" fmla="*/ 536 w 1820"/>
                <a:gd name="T13" fmla="*/ 234 h 912"/>
                <a:gd name="T14" fmla="*/ 164 w 1820"/>
                <a:gd name="T15" fmla="*/ 13 h 912"/>
                <a:gd name="T16" fmla="*/ 112 w 1820"/>
                <a:gd name="T17" fmla="*/ 882 h 912"/>
                <a:gd name="T18" fmla="*/ 282 w 1820"/>
                <a:gd name="T19" fmla="*/ 868 h 912"/>
                <a:gd name="T20" fmla="*/ 382 w 1820"/>
                <a:gd name="T21" fmla="*/ 504 h 912"/>
                <a:gd name="T22" fmla="*/ 990 w 1820"/>
                <a:gd name="T23" fmla="*/ 815 h 912"/>
                <a:gd name="T24" fmla="*/ 582 w 1820"/>
                <a:gd name="T25" fmla="*/ 589 h 912"/>
                <a:gd name="T26" fmla="*/ 278 w 1820"/>
                <a:gd name="T27" fmla="*/ 834 h 912"/>
                <a:gd name="T28" fmla="*/ 183 w 1820"/>
                <a:gd name="T29" fmla="*/ 891 h 912"/>
                <a:gd name="T30" fmla="*/ 20 w 1820"/>
                <a:gd name="T31" fmla="*/ 636 h 912"/>
                <a:gd name="T32" fmla="*/ 332 w 1820"/>
                <a:gd name="T33" fmla="*/ 52 h 912"/>
                <a:gd name="T34" fmla="*/ 749 w 1820"/>
                <a:gd name="T35" fmla="*/ 392 h 912"/>
                <a:gd name="T36" fmla="*/ 494 w 1820"/>
                <a:gd name="T37" fmla="*/ 228 h 912"/>
                <a:gd name="T38" fmla="*/ 50 w 1820"/>
                <a:gd name="T39" fmla="*/ 710 h 912"/>
                <a:gd name="T40" fmla="*/ 230 w 1820"/>
                <a:gd name="T41" fmla="*/ 860 h 912"/>
                <a:gd name="T42" fmla="*/ 253 w 1820"/>
                <a:gd name="T43" fmla="*/ 576 h 912"/>
                <a:gd name="T44" fmla="*/ 742 w 1820"/>
                <a:gd name="T45" fmla="*/ 718 h 912"/>
                <a:gd name="T46" fmla="*/ 1791 w 1820"/>
                <a:gd name="T47" fmla="*/ 805 h 912"/>
                <a:gd name="T48" fmla="*/ 1713 w 1820"/>
                <a:gd name="T49" fmla="*/ 860 h 912"/>
                <a:gd name="T50" fmla="*/ 1597 w 1820"/>
                <a:gd name="T51" fmla="*/ 604 h 912"/>
                <a:gd name="T52" fmla="*/ 1123 w 1820"/>
                <a:gd name="T53" fmla="*/ 664 h 912"/>
                <a:gd name="T54" fmla="*/ 443 w 1820"/>
                <a:gd name="T55" fmla="*/ 462 h 912"/>
                <a:gd name="T56" fmla="*/ 232 w 1820"/>
                <a:gd name="T57" fmla="*/ 788 h 912"/>
                <a:gd name="T58" fmla="*/ 141 w 1820"/>
                <a:gd name="T59" fmla="*/ 836 h 912"/>
                <a:gd name="T60" fmla="*/ 147 w 1820"/>
                <a:gd name="T61" fmla="*/ 64 h 912"/>
                <a:gd name="T62" fmla="*/ 539 w 1820"/>
                <a:gd name="T63" fmla="*/ 298 h 912"/>
                <a:gd name="T64" fmla="*/ 1221 w 1820"/>
                <a:gd name="T65" fmla="*/ 350 h 912"/>
                <a:gd name="T66" fmla="*/ 1564 w 1820"/>
                <a:gd name="T67" fmla="*/ 30 h 912"/>
                <a:gd name="T68" fmla="*/ 827 w 1820"/>
                <a:gd name="T69" fmla="*/ 387 h 912"/>
                <a:gd name="T70" fmla="*/ 382 w 1820"/>
                <a:gd name="T71" fmla="*/ 68 h 912"/>
                <a:gd name="T72" fmla="*/ 3 w 1820"/>
                <a:gd name="T73" fmla="*/ 42 h 912"/>
                <a:gd name="T74" fmla="*/ 35 w 1820"/>
                <a:gd name="T75" fmla="*/ 843 h 912"/>
                <a:gd name="T76" fmla="*/ 275 w 1820"/>
                <a:gd name="T77" fmla="*/ 901 h 912"/>
                <a:gd name="T78" fmla="*/ 360 w 1820"/>
                <a:gd name="T79" fmla="*/ 524 h 912"/>
                <a:gd name="T80" fmla="*/ 816 w 1820"/>
                <a:gd name="T81" fmla="*/ 824 h 912"/>
                <a:gd name="T82" fmla="*/ 1290 w 1820"/>
                <a:gd name="T83" fmla="*/ 593 h 912"/>
                <a:gd name="T84" fmla="*/ 1549 w 1820"/>
                <a:gd name="T85" fmla="*/ 721 h 912"/>
                <a:gd name="T86" fmla="*/ 1772 w 1820"/>
                <a:gd name="T87" fmla="*/ 894 h 912"/>
                <a:gd name="T88" fmla="*/ 1760 w 1820"/>
                <a:gd name="T89" fmla="*/ 884 h 912"/>
                <a:gd name="T90" fmla="*/ 1556 w 1820"/>
                <a:gd name="T91" fmla="*/ 628 h 912"/>
                <a:gd name="T92" fmla="*/ 1200 w 1820"/>
                <a:gd name="T93" fmla="*/ 668 h 912"/>
                <a:gd name="T94" fmla="*/ 633 w 1820"/>
                <a:gd name="T95" fmla="*/ 669 h 912"/>
                <a:gd name="T96" fmla="*/ 295 w 1820"/>
                <a:gd name="T97" fmla="*/ 600 h 912"/>
                <a:gd name="T98" fmla="*/ 279 w 1820"/>
                <a:gd name="T99" fmla="*/ 893 h 912"/>
                <a:gd name="T100" fmla="*/ 22 w 1820"/>
                <a:gd name="T101" fmla="*/ 818 h 912"/>
                <a:gd name="T102" fmla="*/ 278 w 1820"/>
                <a:gd name="T103" fmla="*/ 15 h 912"/>
                <a:gd name="T104" fmla="*/ 1281 w 1820"/>
                <a:gd name="T105" fmla="*/ 260 h 912"/>
                <a:gd name="T106" fmla="*/ 1161 w 1820"/>
                <a:gd name="T107" fmla="*/ 381 h 912"/>
                <a:gd name="T108" fmla="*/ 368 w 1820"/>
                <a:gd name="T109" fmla="*/ 130 h 912"/>
                <a:gd name="T110" fmla="*/ 63 w 1820"/>
                <a:gd name="T111" fmla="*/ 68 h 912"/>
                <a:gd name="T112" fmla="*/ 186 w 1820"/>
                <a:gd name="T113" fmla="*/ 848 h 912"/>
                <a:gd name="T114" fmla="*/ 235 w 1820"/>
                <a:gd name="T115" fmla="*/ 593 h 912"/>
                <a:gd name="T116" fmla="*/ 665 w 1820"/>
                <a:gd name="T117" fmla="*/ 619 h 912"/>
                <a:gd name="T118" fmla="*/ 1141 w 1820"/>
                <a:gd name="T119" fmla="*/ 651 h 912"/>
                <a:gd name="T120" fmla="*/ 1593 w 1820"/>
                <a:gd name="T121" fmla="*/ 597 h 912"/>
                <a:gd name="T122" fmla="*/ 1745 w 1820"/>
                <a:gd name="T123" fmla="*/ 865 h 912"/>
                <a:gd name="T124" fmla="*/ 1796 w 1820"/>
                <a:gd name="T125" fmla="*/ 811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912">
                  <a:moveTo>
                    <a:pt x="1297" y="537"/>
                  </a:moveTo>
                  <a:cubicBezTo>
                    <a:pt x="1277" y="550"/>
                    <a:pt x="1259" y="564"/>
                    <a:pt x="1235" y="585"/>
                  </a:cubicBezTo>
                  <a:cubicBezTo>
                    <a:pt x="1220" y="598"/>
                    <a:pt x="1201" y="615"/>
                    <a:pt x="1181" y="633"/>
                  </a:cubicBezTo>
                  <a:cubicBezTo>
                    <a:pt x="1176" y="637"/>
                    <a:pt x="1171" y="642"/>
                    <a:pt x="1166" y="646"/>
                  </a:cubicBezTo>
                  <a:cubicBezTo>
                    <a:pt x="1161" y="651"/>
                    <a:pt x="1155" y="656"/>
                    <a:pt x="1150" y="660"/>
                  </a:cubicBezTo>
                  <a:cubicBezTo>
                    <a:pt x="1139" y="670"/>
                    <a:pt x="1127" y="680"/>
                    <a:pt x="1116" y="690"/>
                  </a:cubicBezTo>
                  <a:cubicBezTo>
                    <a:pt x="1090" y="713"/>
                    <a:pt x="1064" y="737"/>
                    <a:pt x="1036" y="757"/>
                  </a:cubicBezTo>
                  <a:cubicBezTo>
                    <a:pt x="1008" y="777"/>
                    <a:pt x="978" y="794"/>
                    <a:pt x="946" y="800"/>
                  </a:cubicBezTo>
                  <a:cubicBezTo>
                    <a:pt x="930" y="804"/>
                    <a:pt x="914" y="804"/>
                    <a:pt x="898" y="801"/>
                  </a:cubicBezTo>
                  <a:cubicBezTo>
                    <a:pt x="882" y="798"/>
                    <a:pt x="866" y="792"/>
                    <a:pt x="850" y="785"/>
                  </a:cubicBezTo>
                  <a:cubicBezTo>
                    <a:pt x="820" y="769"/>
                    <a:pt x="792" y="747"/>
                    <a:pt x="766" y="724"/>
                  </a:cubicBezTo>
                  <a:cubicBezTo>
                    <a:pt x="741" y="702"/>
                    <a:pt x="715" y="677"/>
                    <a:pt x="688" y="652"/>
                  </a:cubicBezTo>
                  <a:cubicBezTo>
                    <a:pt x="681" y="646"/>
                    <a:pt x="674" y="640"/>
                    <a:pt x="667" y="634"/>
                  </a:cubicBezTo>
                  <a:cubicBezTo>
                    <a:pt x="661" y="627"/>
                    <a:pt x="654" y="621"/>
                    <a:pt x="647" y="615"/>
                  </a:cubicBezTo>
                  <a:cubicBezTo>
                    <a:pt x="633" y="602"/>
                    <a:pt x="620" y="588"/>
                    <a:pt x="605" y="575"/>
                  </a:cubicBezTo>
                  <a:cubicBezTo>
                    <a:pt x="576" y="549"/>
                    <a:pt x="545" y="522"/>
                    <a:pt x="508" y="501"/>
                  </a:cubicBezTo>
                  <a:cubicBezTo>
                    <a:pt x="490" y="490"/>
                    <a:pt x="470" y="481"/>
                    <a:pt x="449" y="474"/>
                  </a:cubicBezTo>
                  <a:cubicBezTo>
                    <a:pt x="428" y="468"/>
                    <a:pt x="405" y="464"/>
                    <a:pt x="383" y="464"/>
                  </a:cubicBezTo>
                  <a:cubicBezTo>
                    <a:pt x="358" y="464"/>
                    <a:pt x="334" y="470"/>
                    <a:pt x="312" y="483"/>
                  </a:cubicBezTo>
                  <a:cubicBezTo>
                    <a:pt x="291" y="495"/>
                    <a:pt x="274" y="513"/>
                    <a:pt x="261" y="534"/>
                  </a:cubicBezTo>
                  <a:cubicBezTo>
                    <a:pt x="249" y="555"/>
                    <a:pt x="242" y="580"/>
                    <a:pt x="242" y="605"/>
                  </a:cubicBezTo>
                  <a:cubicBezTo>
                    <a:pt x="242" y="625"/>
                    <a:pt x="242" y="646"/>
                    <a:pt x="242" y="667"/>
                  </a:cubicBezTo>
                  <a:cubicBezTo>
                    <a:pt x="242" y="708"/>
                    <a:pt x="243" y="750"/>
                    <a:pt x="243" y="791"/>
                  </a:cubicBezTo>
                  <a:cubicBezTo>
                    <a:pt x="243" y="809"/>
                    <a:pt x="243" y="826"/>
                    <a:pt x="243" y="844"/>
                  </a:cubicBezTo>
                  <a:cubicBezTo>
                    <a:pt x="243" y="846"/>
                    <a:pt x="243" y="849"/>
                    <a:pt x="242" y="851"/>
                  </a:cubicBezTo>
                  <a:cubicBezTo>
                    <a:pt x="241" y="852"/>
                    <a:pt x="240" y="853"/>
                    <a:pt x="239" y="853"/>
                  </a:cubicBezTo>
                  <a:cubicBezTo>
                    <a:pt x="238" y="854"/>
                    <a:pt x="237" y="854"/>
                    <a:pt x="236" y="854"/>
                  </a:cubicBezTo>
                  <a:cubicBezTo>
                    <a:pt x="234" y="855"/>
                    <a:pt x="232" y="855"/>
                    <a:pt x="229" y="855"/>
                  </a:cubicBezTo>
                  <a:cubicBezTo>
                    <a:pt x="226" y="855"/>
                    <a:pt x="226" y="855"/>
                    <a:pt x="226" y="855"/>
                  </a:cubicBezTo>
                  <a:cubicBezTo>
                    <a:pt x="219" y="856"/>
                    <a:pt x="219" y="856"/>
                    <a:pt x="219" y="856"/>
                  </a:cubicBezTo>
                  <a:cubicBezTo>
                    <a:pt x="209" y="856"/>
                    <a:pt x="200" y="856"/>
                    <a:pt x="191" y="856"/>
                  </a:cubicBezTo>
                  <a:cubicBezTo>
                    <a:pt x="184" y="856"/>
                    <a:pt x="184" y="856"/>
                    <a:pt x="184" y="856"/>
                  </a:cubicBezTo>
                  <a:cubicBezTo>
                    <a:pt x="181" y="856"/>
                    <a:pt x="180" y="856"/>
                    <a:pt x="177" y="856"/>
                  </a:cubicBezTo>
                  <a:cubicBezTo>
                    <a:pt x="173" y="856"/>
                    <a:pt x="169" y="856"/>
                    <a:pt x="165" y="855"/>
                  </a:cubicBezTo>
                  <a:cubicBezTo>
                    <a:pt x="149" y="853"/>
                    <a:pt x="133" y="847"/>
                    <a:pt x="117" y="839"/>
                  </a:cubicBezTo>
                  <a:cubicBezTo>
                    <a:pt x="102" y="831"/>
                    <a:pt x="89" y="821"/>
                    <a:pt x="77" y="808"/>
                  </a:cubicBezTo>
                  <a:cubicBezTo>
                    <a:pt x="66" y="796"/>
                    <a:pt x="58" y="782"/>
                    <a:pt x="55" y="766"/>
                  </a:cubicBezTo>
                  <a:cubicBezTo>
                    <a:pt x="55" y="763"/>
                    <a:pt x="54" y="759"/>
                    <a:pt x="54" y="755"/>
                  </a:cubicBezTo>
                  <a:cubicBezTo>
                    <a:pt x="54" y="752"/>
                    <a:pt x="54" y="752"/>
                    <a:pt x="54" y="752"/>
                  </a:cubicBezTo>
                  <a:cubicBezTo>
                    <a:pt x="54" y="748"/>
                    <a:pt x="54" y="748"/>
                    <a:pt x="54" y="748"/>
                  </a:cubicBezTo>
                  <a:cubicBezTo>
                    <a:pt x="54" y="741"/>
                    <a:pt x="54" y="741"/>
                    <a:pt x="54" y="741"/>
                  </a:cubicBezTo>
                  <a:cubicBezTo>
                    <a:pt x="54" y="731"/>
                    <a:pt x="54" y="721"/>
                    <a:pt x="54" y="712"/>
                  </a:cubicBezTo>
                  <a:cubicBezTo>
                    <a:pt x="54" y="692"/>
                    <a:pt x="54" y="672"/>
                    <a:pt x="53" y="652"/>
                  </a:cubicBezTo>
                  <a:cubicBezTo>
                    <a:pt x="53" y="613"/>
                    <a:pt x="53" y="573"/>
                    <a:pt x="53" y="533"/>
                  </a:cubicBezTo>
                  <a:cubicBezTo>
                    <a:pt x="53" y="376"/>
                    <a:pt x="52" y="68"/>
                    <a:pt x="52" y="62"/>
                  </a:cubicBezTo>
                  <a:cubicBezTo>
                    <a:pt x="52" y="51"/>
                    <a:pt x="55" y="48"/>
                    <a:pt x="66" y="48"/>
                  </a:cubicBezTo>
                  <a:cubicBezTo>
                    <a:pt x="82" y="48"/>
                    <a:pt x="118" y="47"/>
                    <a:pt x="144" y="47"/>
                  </a:cubicBezTo>
                  <a:cubicBezTo>
                    <a:pt x="158" y="47"/>
                    <a:pt x="172" y="47"/>
                    <a:pt x="186" y="47"/>
                  </a:cubicBezTo>
                  <a:cubicBezTo>
                    <a:pt x="193" y="47"/>
                    <a:pt x="200" y="47"/>
                    <a:pt x="207" y="47"/>
                  </a:cubicBezTo>
                  <a:cubicBezTo>
                    <a:pt x="218" y="47"/>
                    <a:pt x="218" y="47"/>
                    <a:pt x="218" y="47"/>
                  </a:cubicBezTo>
                  <a:cubicBezTo>
                    <a:pt x="221" y="47"/>
                    <a:pt x="224" y="47"/>
                    <a:pt x="227" y="48"/>
                  </a:cubicBezTo>
                  <a:cubicBezTo>
                    <a:pt x="253" y="49"/>
                    <a:pt x="278" y="56"/>
                    <a:pt x="302" y="67"/>
                  </a:cubicBezTo>
                  <a:cubicBezTo>
                    <a:pt x="313" y="73"/>
                    <a:pt x="324" y="79"/>
                    <a:pt x="335" y="87"/>
                  </a:cubicBezTo>
                  <a:cubicBezTo>
                    <a:pt x="340" y="90"/>
                    <a:pt x="345" y="94"/>
                    <a:pt x="349" y="99"/>
                  </a:cubicBezTo>
                  <a:cubicBezTo>
                    <a:pt x="354" y="103"/>
                    <a:pt x="359" y="108"/>
                    <a:pt x="364" y="112"/>
                  </a:cubicBezTo>
                  <a:cubicBezTo>
                    <a:pt x="404" y="150"/>
                    <a:pt x="444" y="186"/>
                    <a:pt x="483" y="223"/>
                  </a:cubicBezTo>
                  <a:cubicBezTo>
                    <a:pt x="502" y="241"/>
                    <a:pt x="521" y="259"/>
                    <a:pt x="540" y="276"/>
                  </a:cubicBezTo>
                  <a:cubicBezTo>
                    <a:pt x="548" y="283"/>
                    <a:pt x="548" y="283"/>
                    <a:pt x="548" y="283"/>
                  </a:cubicBezTo>
                  <a:cubicBezTo>
                    <a:pt x="551" y="286"/>
                    <a:pt x="551" y="286"/>
                    <a:pt x="551" y="286"/>
                  </a:cubicBezTo>
                  <a:cubicBezTo>
                    <a:pt x="554" y="290"/>
                    <a:pt x="554" y="290"/>
                    <a:pt x="554" y="290"/>
                  </a:cubicBezTo>
                  <a:cubicBezTo>
                    <a:pt x="559" y="294"/>
                    <a:pt x="564" y="299"/>
                    <a:pt x="569" y="303"/>
                  </a:cubicBezTo>
                  <a:cubicBezTo>
                    <a:pt x="579" y="312"/>
                    <a:pt x="589" y="321"/>
                    <a:pt x="600" y="329"/>
                  </a:cubicBezTo>
                  <a:cubicBezTo>
                    <a:pt x="637" y="357"/>
                    <a:pt x="676" y="377"/>
                    <a:pt x="712" y="392"/>
                  </a:cubicBezTo>
                  <a:cubicBezTo>
                    <a:pt x="748" y="406"/>
                    <a:pt x="782" y="415"/>
                    <a:pt x="811" y="420"/>
                  </a:cubicBezTo>
                  <a:cubicBezTo>
                    <a:pt x="839" y="425"/>
                    <a:pt x="864" y="427"/>
                    <a:pt x="882" y="427"/>
                  </a:cubicBezTo>
                  <a:cubicBezTo>
                    <a:pt x="900" y="428"/>
                    <a:pt x="912" y="427"/>
                    <a:pt x="918" y="427"/>
                  </a:cubicBezTo>
                  <a:cubicBezTo>
                    <a:pt x="940" y="426"/>
                    <a:pt x="956" y="423"/>
                    <a:pt x="967" y="421"/>
                  </a:cubicBezTo>
                  <a:cubicBezTo>
                    <a:pt x="978" y="419"/>
                    <a:pt x="984" y="418"/>
                    <a:pt x="985" y="417"/>
                  </a:cubicBezTo>
                  <a:cubicBezTo>
                    <a:pt x="985" y="415"/>
                    <a:pt x="981" y="415"/>
                    <a:pt x="971" y="415"/>
                  </a:cubicBezTo>
                  <a:cubicBezTo>
                    <a:pt x="961" y="415"/>
                    <a:pt x="948" y="415"/>
                    <a:pt x="924" y="414"/>
                  </a:cubicBezTo>
                  <a:cubicBezTo>
                    <a:pt x="895" y="413"/>
                    <a:pt x="852" y="410"/>
                    <a:pt x="800" y="397"/>
                  </a:cubicBezTo>
                  <a:cubicBezTo>
                    <a:pt x="774" y="390"/>
                    <a:pt x="745" y="381"/>
                    <a:pt x="716" y="368"/>
                  </a:cubicBezTo>
                  <a:cubicBezTo>
                    <a:pt x="686" y="354"/>
                    <a:pt x="655" y="337"/>
                    <a:pt x="626" y="315"/>
                  </a:cubicBezTo>
                  <a:cubicBezTo>
                    <a:pt x="611" y="303"/>
                    <a:pt x="596" y="291"/>
                    <a:pt x="581" y="277"/>
                  </a:cubicBezTo>
                  <a:cubicBezTo>
                    <a:pt x="578" y="274"/>
                    <a:pt x="574" y="270"/>
                    <a:pt x="571" y="267"/>
                  </a:cubicBezTo>
                  <a:cubicBezTo>
                    <a:pt x="567" y="263"/>
                    <a:pt x="563" y="260"/>
                    <a:pt x="559" y="256"/>
                  </a:cubicBezTo>
                  <a:cubicBezTo>
                    <a:pt x="552" y="249"/>
                    <a:pt x="544" y="241"/>
                    <a:pt x="536" y="234"/>
                  </a:cubicBezTo>
                  <a:cubicBezTo>
                    <a:pt x="506" y="204"/>
                    <a:pt x="473" y="173"/>
                    <a:pt x="439" y="140"/>
                  </a:cubicBezTo>
                  <a:cubicBezTo>
                    <a:pt x="422" y="124"/>
                    <a:pt x="405" y="107"/>
                    <a:pt x="387" y="90"/>
                  </a:cubicBezTo>
                  <a:cubicBezTo>
                    <a:pt x="382" y="86"/>
                    <a:pt x="378" y="82"/>
                    <a:pt x="373" y="78"/>
                  </a:cubicBezTo>
                  <a:cubicBezTo>
                    <a:pt x="368" y="73"/>
                    <a:pt x="363" y="69"/>
                    <a:pt x="358" y="65"/>
                  </a:cubicBezTo>
                  <a:cubicBezTo>
                    <a:pt x="348" y="56"/>
                    <a:pt x="336" y="49"/>
                    <a:pt x="324" y="42"/>
                  </a:cubicBezTo>
                  <a:cubicBezTo>
                    <a:pt x="300" y="30"/>
                    <a:pt x="274" y="20"/>
                    <a:pt x="246" y="16"/>
                  </a:cubicBezTo>
                  <a:cubicBezTo>
                    <a:pt x="239" y="15"/>
                    <a:pt x="232" y="15"/>
                    <a:pt x="225" y="14"/>
                  </a:cubicBezTo>
                  <a:cubicBezTo>
                    <a:pt x="220" y="14"/>
                    <a:pt x="220" y="14"/>
                    <a:pt x="220" y="14"/>
                  </a:cubicBezTo>
                  <a:cubicBezTo>
                    <a:pt x="218" y="14"/>
                    <a:pt x="216" y="14"/>
                    <a:pt x="214" y="14"/>
                  </a:cubicBezTo>
                  <a:cubicBezTo>
                    <a:pt x="211" y="14"/>
                    <a:pt x="208" y="14"/>
                    <a:pt x="204" y="14"/>
                  </a:cubicBezTo>
                  <a:cubicBezTo>
                    <a:pt x="191" y="14"/>
                    <a:pt x="177" y="14"/>
                    <a:pt x="164" y="13"/>
                  </a:cubicBezTo>
                  <a:cubicBezTo>
                    <a:pt x="127" y="13"/>
                    <a:pt x="78" y="13"/>
                    <a:pt x="52" y="13"/>
                  </a:cubicBezTo>
                  <a:cubicBezTo>
                    <a:pt x="25" y="13"/>
                    <a:pt x="17" y="29"/>
                    <a:pt x="17" y="48"/>
                  </a:cubicBezTo>
                  <a:cubicBezTo>
                    <a:pt x="17" y="65"/>
                    <a:pt x="16" y="137"/>
                    <a:pt x="16" y="181"/>
                  </a:cubicBezTo>
                  <a:cubicBezTo>
                    <a:pt x="15" y="299"/>
                    <a:pt x="15" y="419"/>
                    <a:pt x="14" y="540"/>
                  </a:cubicBezTo>
                  <a:cubicBezTo>
                    <a:pt x="14" y="600"/>
                    <a:pt x="14" y="660"/>
                    <a:pt x="14" y="721"/>
                  </a:cubicBezTo>
                  <a:cubicBezTo>
                    <a:pt x="14" y="743"/>
                    <a:pt x="14" y="743"/>
                    <a:pt x="14" y="743"/>
                  </a:cubicBezTo>
                  <a:cubicBezTo>
                    <a:pt x="14" y="755"/>
                    <a:pt x="14" y="755"/>
                    <a:pt x="14" y="755"/>
                  </a:cubicBezTo>
                  <a:cubicBezTo>
                    <a:pt x="14" y="759"/>
                    <a:pt x="15" y="764"/>
                    <a:pt x="15" y="769"/>
                  </a:cubicBezTo>
                  <a:cubicBezTo>
                    <a:pt x="18" y="787"/>
                    <a:pt x="25" y="804"/>
                    <a:pt x="35" y="818"/>
                  </a:cubicBezTo>
                  <a:cubicBezTo>
                    <a:pt x="44" y="833"/>
                    <a:pt x="56" y="845"/>
                    <a:pt x="69" y="856"/>
                  </a:cubicBezTo>
                  <a:cubicBezTo>
                    <a:pt x="82" y="866"/>
                    <a:pt x="97" y="875"/>
                    <a:pt x="112" y="882"/>
                  </a:cubicBezTo>
                  <a:cubicBezTo>
                    <a:pt x="127" y="888"/>
                    <a:pt x="143" y="893"/>
                    <a:pt x="160" y="896"/>
                  </a:cubicBezTo>
                  <a:cubicBezTo>
                    <a:pt x="164" y="896"/>
                    <a:pt x="168" y="897"/>
                    <a:pt x="173" y="897"/>
                  </a:cubicBezTo>
                  <a:cubicBezTo>
                    <a:pt x="175" y="897"/>
                    <a:pt x="177" y="897"/>
                    <a:pt x="179" y="897"/>
                  </a:cubicBezTo>
                  <a:cubicBezTo>
                    <a:pt x="185" y="897"/>
                    <a:pt x="185" y="897"/>
                    <a:pt x="185" y="897"/>
                  </a:cubicBezTo>
                  <a:cubicBezTo>
                    <a:pt x="193" y="897"/>
                    <a:pt x="200" y="897"/>
                    <a:pt x="208" y="897"/>
                  </a:cubicBezTo>
                  <a:cubicBezTo>
                    <a:pt x="219" y="897"/>
                    <a:pt x="219" y="897"/>
                    <a:pt x="219" y="897"/>
                  </a:cubicBezTo>
                  <a:cubicBezTo>
                    <a:pt x="225" y="897"/>
                    <a:pt x="225" y="897"/>
                    <a:pt x="225" y="897"/>
                  </a:cubicBezTo>
                  <a:cubicBezTo>
                    <a:pt x="232" y="896"/>
                    <a:pt x="232" y="896"/>
                    <a:pt x="232" y="896"/>
                  </a:cubicBezTo>
                  <a:cubicBezTo>
                    <a:pt x="243" y="896"/>
                    <a:pt x="254" y="894"/>
                    <a:pt x="264" y="891"/>
                  </a:cubicBezTo>
                  <a:cubicBezTo>
                    <a:pt x="268" y="889"/>
                    <a:pt x="273" y="886"/>
                    <a:pt x="276" y="881"/>
                  </a:cubicBezTo>
                  <a:cubicBezTo>
                    <a:pt x="279" y="877"/>
                    <a:pt x="281" y="873"/>
                    <a:pt x="282" y="868"/>
                  </a:cubicBezTo>
                  <a:cubicBezTo>
                    <a:pt x="283" y="865"/>
                    <a:pt x="283" y="863"/>
                    <a:pt x="284" y="860"/>
                  </a:cubicBezTo>
                  <a:cubicBezTo>
                    <a:pt x="284" y="857"/>
                    <a:pt x="284" y="855"/>
                    <a:pt x="284" y="852"/>
                  </a:cubicBezTo>
                  <a:cubicBezTo>
                    <a:pt x="284" y="836"/>
                    <a:pt x="284" y="836"/>
                    <a:pt x="284" y="836"/>
                  </a:cubicBezTo>
                  <a:cubicBezTo>
                    <a:pt x="284" y="777"/>
                    <a:pt x="284" y="719"/>
                    <a:pt x="284" y="661"/>
                  </a:cubicBezTo>
                  <a:cubicBezTo>
                    <a:pt x="284" y="647"/>
                    <a:pt x="284" y="633"/>
                    <a:pt x="284" y="618"/>
                  </a:cubicBezTo>
                  <a:cubicBezTo>
                    <a:pt x="284" y="611"/>
                    <a:pt x="283" y="604"/>
                    <a:pt x="284" y="598"/>
                  </a:cubicBezTo>
                  <a:cubicBezTo>
                    <a:pt x="284" y="592"/>
                    <a:pt x="285" y="586"/>
                    <a:pt x="286" y="581"/>
                  </a:cubicBezTo>
                  <a:cubicBezTo>
                    <a:pt x="292" y="557"/>
                    <a:pt x="306" y="536"/>
                    <a:pt x="325" y="523"/>
                  </a:cubicBezTo>
                  <a:cubicBezTo>
                    <a:pt x="335" y="516"/>
                    <a:pt x="345" y="510"/>
                    <a:pt x="356" y="507"/>
                  </a:cubicBezTo>
                  <a:cubicBezTo>
                    <a:pt x="362" y="506"/>
                    <a:pt x="368" y="505"/>
                    <a:pt x="373" y="504"/>
                  </a:cubicBezTo>
                  <a:cubicBezTo>
                    <a:pt x="376" y="504"/>
                    <a:pt x="379" y="504"/>
                    <a:pt x="382" y="504"/>
                  </a:cubicBezTo>
                  <a:cubicBezTo>
                    <a:pt x="385" y="504"/>
                    <a:pt x="388" y="504"/>
                    <a:pt x="391" y="504"/>
                  </a:cubicBezTo>
                  <a:cubicBezTo>
                    <a:pt x="416" y="505"/>
                    <a:pt x="441" y="511"/>
                    <a:pt x="464" y="521"/>
                  </a:cubicBezTo>
                  <a:cubicBezTo>
                    <a:pt x="487" y="531"/>
                    <a:pt x="508" y="544"/>
                    <a:pt x="528" y="559"/>
                  </a:cubicBezTo>
                  <a:cubicBezTo>
                    <a:pt x="549" y="574"/>
                    <a:pt x="568" y="591"/>
                    <a:pt x="586" y="607"/>
                  </a:cubicBezTo>
                  <a:cubicBezTo>
                    <a:pt x="605" y="624"/>
                    <a:pt x="623" y="641"/>
                    <a:pt x="642" y="658"/>
                  </a:cubicBezTo>
                  <a:cubicBezTo>
                    <a:pt x="651" y="666"/>
                    <a:pt x="660" y="674"/>
                    <a:pt x="669" y="682"/>
                  </a:cubicBezTo>
                  <a:cubicBezTo>
                    <a:pt x="678" y="690"/>
                    <a:pt x="687" y="698"/>
                    <a:pt x="696" y="706"/>
                  </a:cubicBezTo>
                  <a:cubicBezTo>
                    <a:pt x="732" y="737"/>
                    <a:pt x="766" y="769"/>
                    <a:pt x="804" y="793"/>
                  </a:cubicBezTo>
                  <a:cubicBezTo>
                    <a:pt x="824" y="806"/>
                    <a:pt x="844" y="816"/>
                    <a:pt x="865" y="823"/>
                  </a:cubicBezTo>
                  <a:cubicBezTo>
                    <a:pt x="886" y="830"/>
                    <a:pt x="909" y="833"/>
                    <a:pt x="930" y="831"/>
                  </a:cubicBezTo>
                  <a:cubicBezTo>
                    <a:pt x="952" y="829"/>
                    <a:pt x="972" y="823"/>
                    <a:pt x="990" y="815"/>
                  </a:cubicBezTo>
                  <a:cubicBezTo>
                    <a:pt x="1008" y="806"/>
                    <a:pt x="1024" y="796"/>
                    <a:pt x="1039" y="786"/>
                  </a:cubicBezTo>
                  <a:cubicBezTo>
                    <a:pt x="1068" y="765"/>
                    <a:pt x="1092" y="742"/>
                    <a:pt x="1115" y="722"/>
                  </a:cubicBezTo>
                  <a:cubicBezTo>
                    <a:pt x="1136" y="701"/>
                    <a:pt x="1156" y="682"/>
                    <a:pt x="1175" y="665"/>
                  </a:cubicBezTo>
                  <a:cubicBezTo>
                    <a:pt x="1193" y="648"/>
                    <a:pt x="1208" y="632"/>
                    <a:pt x="1222" y="618"/>
                  </a:cubicBezTo>
                  <a:cubicBezTo>
                    <a:pt x="1243" y="597"/>
                    <a:pt x="1255" y="584"/>
                    <a:pt x="1268" y="572"/>
                  </a:cubicBezTo>
                  <a:cubicBezTo>
                    <a:pt x="1287" y="554"/>
                    <a:pt x="1300" y="542"/>
                    <a:pt x="1305" y="536"/>
                  </a:cubicBezTo>
                  <a:cubicBezTo>
                    <a:pt x="1310" y="531"/>
                    <a:pt x="1308" y="530"/>
                    <a:pt x="1297" y="537"/>
                  </a:cubicBezTo>
                  <a:close/>
                  <a:moveTo>
                    <a:pt x="711" y="700"/>
                  </a:moveTo>
                  <a:cubicBezTo>
                    <a:pt x="700" y="691"/>
                    <a:pt x="689" y="682"/>
                    <a:pt x="671" y="667"/>
                  </a:cubicBezTo>
                  <a:cubicBezTo>
                    <a:pt x="659" y="657"/>
                    <a:pt x="645" y="646"/>
                    <a:pt x="631" y="632"/>
                  </a:cubicBezTo>
                  <a:cubicBezTo>
                    <a:pt x="616" y="619"/>
                    <a:pt x="600" y="605"/>
                    <a:pt x="582" y="589"/>
                  </a:cubicBezTo>
                  <a:cubicBezTo>
                    <a:pt x="564" y="574"/>
                    <a:pt x="545" y="558"/>
                    <a:pt x="523" y="543"/>
                  </a:cubicBezTo>
                  <a:cubicBezTo>
                    <a:pt x="501" y="529"/>
                    <a:pt x="476" y="515"/>
                    <a:pt x="448" y="506"/>
                  </a:cubicBezTo>
                  <a:cubicBezTo>
                    <a:pt x="434" y="501"/>
                    <a:pt x="420" y="498"/>
                    <a:pt x="405" y="496"/>
                  </a:cubicBezTo>
                  <a:cubicBezTo>
                    <a:pt x="397" y="496"/>
                    <a:pt x="389" y="495"/>
                    <a:pt x="382" y="495"/>
                  </a:cubicBezTo>
                  <a:cubicBezTo>
                    <a:pt x="374" y="496"/>
                    <a:pt x="367" y="496"/>
                    <a:pt x="359" y="498"/>
                  </a:cubicBezTo>
                  <a:cubicBezTo>
                    <a:pt x="345" y="501"/>
                    <a:pt x="331" y="508"/>
                    <a:pt x="318" y="518"/>
                  </a:cubicBezTo>
                  <a:cubicBezTo>
                    <a:pt x="306" y="527"/>
                    <a:pt x="295" y="540"/>
                    <a:pt x="288" y="554"/>
                  </a:cubicBezTo>
                  <a:cubicBezTo>
                    <a:pt x="281" y="569"/>
                    <a:pt x="276" y="585"/>
                    <a:pt x="276" y="602"/>
                  </a:cubicBezTo>
                  <a:cubicBezTo>
                    <a:pt x="276" y="620"/>
                    <a:pt x="276" y="639"/>
                    <a:pt x="277" y="657"/>
                  </a:cubicBezTo>
                  <a:cubicBezTo>
                    <a:pt x="277" y="695"/>
                    <a:pt x="277" y="734"/>
                    <a:pt x="277" y="774"/>
                  </a:cubicBezTo>
                  <a:cubicBezTo>
                    <a:pt x="277" y="793"/>
                    <a:pt x="278" y="814"/>
                    <a:pt x="278" y="834"/>
                  </a:cubicBezTo>
                  <a:cubicBezTo>
                    <a:pt x="278" y="838"/>
                    <a:pt x="278" y="838"/>
                    <a:pt x="278" y="838"/>
                  </a:cubicBezTo>
                  <a:cubicBezTo>
                    <a:pt x="278" y="843"/>
                    <a:pt x="278" y="843"/>
                    <a:pt x="278" y="843"/>
                  </a:cubicBezTo>
                  <a:cubicBezTo>
                    <a:pt x="278" y="853"/>
                    <a:pt x="278" y="853"/>
                    <a:pt x="278" y="853"/>
                  </a:cubicBezTo>
                  <a:cubicBezTo>
                    <a:pt x="278" y="860"/>
                    <a:pt x="277" y="866"/>
                    <a:pt x="274" y="872"/>
                  </a:cubicBezTo>
                  <a:cubicBezTo>
                    <a:pt x="272" y="878"/>
                    <a:pt x="267" y="883"/>
                    <a:pt x="261" y="885"/>
                  </a:cubicBezTo>
                  <a:cubicBezTo>
                    <a:pt x="255" y="887"/>
                    <a:pt x="248" y="888"/>
                    <a:pt x="241" y="889"/>
                  </a:cubicBezTo>
                  <a:cubicBezTo>
                    <a:pt x="238" y="889"/>
                    <a:pt x="234" y="890"/>
                    <a:pt x="231" y="890"/>
                  </a:cubicBezTo>
                  <a:cubicBezTo>
                    <a:pt x="222" y="890"/>
                    <a:pt x="222" y="890"/>
                    <a:pt x="222" y="890"/>
                  </a:cubicBezTo>
                  <a:cubicBezTo>
                    <a:pt x="217" y="891"/>
                    <a:pt x="212" y="891"/>
                    <a:pt x="206" y="891"/>
                  </a:cubicBezTo>
                  <a:cubicBezTo>
                    <a:pt x="201" y="891"/>
                    <a:pt x="196" y="891"/>
                    <a:pt x="191" y="891"/>
                  </a:cubicBezTo>
                  <a:cubicBezTo>
                    <a:pt x="183" y="891"/>
                    <a:pt x="183" y="891"/>
                    <a:pt x="183" y="891"/>
                  </a:cubicBezTo>
                  <a:cubicBezTo>
                    <a:pt x="180" y="891"/>
                    <a:pt x="177" y="891"/>
                    <a:pt x="174" y="891"/>
                  </a:cubicBezTo>
                  <a:cubicBezTo>
                    <a:pt x="151" y="890"/>
                    <a:pt x="129" y="883"/>
                    <a:pt x="108" y="873"/>
                  </a:cubicBezTo>
                  <a:cubicBezTo>
                    <a:pt x="88" y="863"/>
                    <a:pt x="69" y="850"/>
                    <a:pt x="53" y="832"/>
                  </a:cubicBezTo>
                  <a:cubicBezTo>
                    <a:pt x="45" y="824"/>
                    <a:pt x="38" y="814"/>
                    <a:pt x="32" y="803"/>
                  </a:cubicBezTo>
                  <a:cubicBezTo>
                    <a:pt x="27" y="792"/>
                    <a:pt x="23" y="780"/>
                    <a:pt x="21" y="768"/>
                  </a:cubicBezTo>
                  <a:cubicBezTo>
                    <a:pt x="21" y="765"/>
                    <a:pt x="20" y="762"/>
                    <a:pt x="20" y="759"/>
                  </a:cubicBezTo>
                  <a:cubicBezTo>
                    <a:pt x="20" y="757"/>
                    <a:pt x="20" y="756"/>
                    <a:pt x="20" y="754"/>
                  </a:cubicBezTo>
                  <a:cubicBezTo>
                    <a:pt x="20" y="750"/>
                    <a:pt x="20" y="750"/>
                    <a:pt x="20" y="750"/>
                  </a:cubicBezTo>
                  <a:cubicBezTo>
                    <a:pt x="20" y="734"/>
                    <a:pt x="20" y="734"/>
                    <a:pt x="20" y="734"/>
                  </a:cubicBezTo>
                  <a:cubicBezTo>
                    <a:pt x="20" y="723"/>
                    <a:pt x="20" y="712"/>
                    <a:pt x="20" y="701"/>
                  </a:cubicBezTo>
                  <a:cubicBezTo>
                    <a:pt x="20" y="679"/>
                    <a:pt x="20" y="657"/>
                    <a:pt x="20" y="636"/>
                  </a:cubicBezTo>
                  <a:cubicBezTo>
                    <a:pt x="20" y="460"/>
                    <a:pt x="20" y="282"/>
                    <a:pt x="21" y="112"/>
                  </a:cubicBezTo>
                  <a:cubicBezTo>
                    <a:pt x="21" y="91"/>
                    <a:pt x="21" y="65"/>
                    <a:pt x="21" y="50"/>
                  </a:cubicBezTo>
                  <a:cubicBezTo>
                    <a:pt x="21" y="34"/>
                    <a:pt x="31" y="17"/>
                    <a:pt x="54" y="17"/>
                  </a:cubicBezTo>
                  <a:cubicBezTo>
                    <a:pt x="77" y="17"/>
                    <a:pt x="126" y="18"/>
                    <a:pt x="161" y="18"/>
                  </a:cubicBezTo>
                  <a:cubicBezTo>
                    <a:pt x="171" y="18"/>
                    <a:pt x="181" y="18"/>
                    <a:pt x="191" y="18"/>
                  </a:cubicBezTo>
                  <a:cubicBezTo>
                    <a:pt x="196" y="18"/>
                    <a:pt x="201" y="18"/>
                    <a:pt x="206" y="18"/>
                  </a:cubicBezTo>
                  <a:cubicBezTo>
                    <a:pt x="213" y="18"/>
                    <a:pt x="213" y="18"/>
                    <a:pt x="213" y="18"/>
                  </a:cubicBezTo>
                  <a:cubicBezTo>
                    <a:pt x="216" y="18"/>
                    <a:pt x="216" y="18"/>
                    <a:pt x="216" y="18"/>
                  </a:cubicBezTo>
                  <a:cubicBezTo>
                    <a:pt x="220" y="19"/>
                    <a:pt x="220" y="19"/>
                    <a:pt x="220" y="19"/>
                  </a:cubicBezTo>
                  <a:cubicBezTo>
                    <a:pt x="241" y="19"/>
                    <a:pt x="261" y="23"/>
                    <a:pt x="279" y="29"/>
                  </a:cubicBezTo>
                  <a:cubicBezTo>
                    <a:pt x="298" y="34"/>
                    <a:pt x="316" y="42"/>
                    <a:pt x="332" y="52"/>
                  </a:cubicBezTo>
                  <a:cubicBezTo>
                    <a:pt x="340" y="57"/>
                    <a:pt x="348" y="63"/>
                    <a:pt x="356" y="68"/>
                  </a:cubicBezTo>
                  <a:cubicBezTo>
                    <a:pt x="363" y="74"/>
                    <a:pt x="370" y="81"/>
                    <a:pt x="376" y="87"/>
                  </a:cubicBezTo>
                  <a:cubicBezTo>
                    <a:pt x="427" y="135"/>
                    <a:pt x="473" y="180"/>
                    <a:pt x="515" y="220"/>
                  </a:cubicBezTo>
                  <a:cubicBezTo>
                    <a:pt x="525" y="230"/>
                    <a:pt x="535" y="239"/>
                    <a:pt x="545" y="249"/>
                  </a:cubicBezTo>
                  <a:cubicBezTo>
                    <a:pt x="550" y="253"/>
                    <a:pt x="554" y="258"/>
                    <a:pt x="559" y="262"/>
                  </a:cubicBezTo>
                  <a:cubicBezTo>
                    <a:pt x="561" y="265"/>
                    <a:pt x="564" y="267"/>
                    <a:pt x="566" y="269"/>
                  </a:cubicBezTo>
                  <a:cubicBezTo>
                    <a:pt x="568" y="271"/>
                    <a:pt x="571" y="274"/>
                    <a:pt x="573" y="276"/>
                  </a:cubicBezTo>
                  <a:cubicBezTo>
                    <a:pt x="590" y="293"/>
                    <a:pt x="608" y="308"/>
                    <a:pt x="624" y="320"/>
                  </a:cubicBezTo>
                  <a:cubicBezTo>
                    <a:pt x="657" y="345"/>
                    <a:pt x="687" y="361"/>
                    <a:pt x="707" y="371"/>
                  </a:cubicBezTo>
                  <a:cubicBezTo>
                    <a:pt x="723" y="379"/>
                    <a:pt x="732" y="383"/>
                    <a:pt x="739" y="387"/>
                  </a:cubicBezTo>
                  <a:cubicBezTo>
                    <a:pt x="746" y="390"/>
                    <a:pt x="749" y="392"/>
                    <a:pt x="749" y="392"/>
                  </a:cubicBezTo>
                  <a:cubicBezTo>
                    <a:pt x="748" y="393"/>
                    <a:pt x="743" y="392"/>
                    <a:pt x="735" y="390"/>
                  </a:cubicBezTo>
                  <a:cubicBezTo>
                    <a:pt x="726" y="388"/>
                    <a:pt x="714" y="384"/>
                    <a:pt x="698" y="378"/>
                  </a:cubicBezTo>
                  <a:cubicBezTo>
                    <a:pt x="694" y="376"/>
                    <a:pt x="685" y="373"/>
                    <a:pt x="673" y="367"/>
                  </a:cubicBezTo>
                  <a:cubicBezTo>
                    <a:pt x="660" y="361"/>
                    <a:pt x="644" y="352"/>
                    <a:pt x="625" y="340"/>
                  </a:cubicBezTo>
                  <a:cubicBezTo>
                    <a:pt x="607" y="328"/>
                    <a:pt x="585" y="312"/>
                    <a:pt x="564" y="292"/>
                  </a:cubicBezTo>
                  <a:cubicBezTo>
                    <a:pt x="561" y="290"/>
                    <a:pt x="558" y="287"/>
                    <a:pt x="556" y="284"/>
                  </a:cubicBezTo>
                  <a:cubicBezTo>
                    <a:pt x="554" y="283"/>
                    <a:pt x="554" y="283"/>
                    <a:pt x="554" y="283"/>
                  </a:cubicBezTo>
                  <a:cubicBezTo>
                    <a:pt x="552" y="281"/>
                    <a:pt x="552" y="281"/>
                    <a:pt x="552" y="281"/>
                  </a:cubicBezTo>
                  <a:cubicBezTo>
                    <a:pt x="551" y="280"/>
                    <a:pt x="549" y="278"/>
                    <a:pt x="548" y="277"/>
                  </a:cubicBezTo>
                  <a:cubicBezTo>
                    <a:pt x="542" y="272"/>
                    <a:pt x="536" y="267"/>
                    <a:pt x="531" y="261"/>
                  </a:cubicBezTo>
                  <a:cubicBezTo>
                    <a:pt x="519" y="251"/>
                    <a:pt x="507" y="239"/>
                    <a:pt x="494" y="228"/>
                  </a:cubicBezTo>
                  <a:cubicBezTo>
                    <a:pt x="465" y="200"/>
                    <a:pt x="435" y="172"/>
                    <a:pt x="404" y="144"/>
                  </a:cubicBezTo>
                  <a:cubicBezTo>
                    <a:pt x="389" y="130"/>
                    <a:pt x="374" y="115"/>
                    <a:pt x="358" y="101"/>
                  </a:cubicBezTo>
                  <a:cubicBezTo>
                    <a:pt x="344" y="87"/>
                    <a:pt x="327" y="75"/>
                    <a:pt x="309" y="66"/>
                  </a:cubicBezTo>
                  <a:cubicBezTo>
                    <a:pt x="291" y="57"/>
                    <a:pt x="272" y="50"/>
                    <a:pt x="252" y="46"/>
                  </a:cubicBezTo>
                  <a:cubicBezTo>
                    <a:pt x="242" y="45"/>
                    <a:pt x="232" y="43"/>
                    <a:pt x="222" y="43"/>
                  </a:cubicBezTo>
                  <a:cubicBezTo>
                    <a:pt x="217" y="43"/>
                    <a:pt x="211" y="43"/>
                    <a:pt x="206" y="43"/>
                  </a:cubicBezTo>
                  <a:cubicBezTo>
                    <a:pt x="190" y="43"/>
                    <a:pt x="190" y="43"/>
                    <a:pt x="190" y="43"/>
                  </a:cubicBezTo>
                  <a:cubicBezTo>
                    <a:pt x="148" y="43"/>
                    <a:pt x="73" y="43"/>
                    <a:pt x="64" y="43"/>
                  </a:cubicBezTo>
                  <a:cubicBezTo>
                    <a:pt x="56" y="43"/>
                    <a:pt x="47" y="43"/>
                    <a:pt x="47" y="60"/>
                  </a:cubicBezTo>
                  <a:cubicBezTo>
                    <a:pt x="47" y="78"/>
                    <a:pt x="48" y="278"/>
                    <a:pt x="48" y="386"/>
                  </a:cubicBezTo>
                  <a:cubicBezTo>
                    <a:pt x="49" y="496"/>
                    <a:pt x="49" y="605"/>
                    <a:pt x="50" y="710"/>
                  </a:cubicBezTo>
                  <a:cubicBezTo>
                    <a:pt x="50" y="725"/>
                    <a:pt x="50" y="740"/>
                    <a:pt x="50" y="754"/>
                  </a:cubicBezTo>
                  <a:cubicBezTo>
                    <a:pt x="50" y="767"/>
                    <a:pt x="54" y="779"/>
                    <a:pt x="60" y="790"/>
                  </a:cubicBezTo>
                  <a:cubicBezTo>
                    <a:pt x="72" y="813"/>
                    <a:pt x="94" y="832"/>
                    <a:pt x="118" y="844"/>
                  </a:cubicBezTo>
                  <a:cubicBezTo>
                    <a:pt x="130" y="851"/>
                    <a:pt x="144" y="855"/>
                    <a:pt x="157" y="858"/>
                  </a:cubicBezTo>
                  <a:cubicBezTo>
                    <a:pt x="164" y="860"/>
                    <a:pt x="170" y="860"/>
                    <a:pt x="177" y="861"/>
                  </a:cubicBezTo>
                  <a:cubicBezTo>
                    <a:pt x="179" y="861"/>
                    <a:pt x="180" y="861"/>
                    <a:pt x="182" y="861"/>
                  </a:cubicBezTo>
                  <a:cubicBezTo>
                    <a:pt x="188" y="861"/>
                    <a:pt x="188" y="861"/>
                    <a:pt x="188" y="861"/>
                  </a:cubicBezTo>
                  <a:cubicBezTo>
                    <a:pt x="199" y="861"/>
                    <a:pt x="199" y="861"/>
                    <a:pt x="199" y="861"/>
                  </a:cubicBezTo>
                  <a:cubicBezTo>
                    <a:pt x="207" y="861"/>
                    <a:pt x="214" y="861"/>
                    <a:pt x="221" y="860"/>
                  </a:cubicBezTo>
                  <a:cubicBezTo>
                    <a:pt x="227" y="860"/>
                    <a:pt x="227" y="860"/>
                    <a:pt x="227" y="860"/>
                  </a:cubicBezTo>
                  <a:cubicBezTo>
                    <a:pt x="230" y="860"/>
                    <a:pt x="230" y="860"/>
                    <a:pt x="230" y="860"/>
                  </a:cubicBezTo>
                  <a:cubicBezTo>
                    <a:pt x="232" y="860"/>
                    <a:pt x="235" y="860"/>
                    <a:pt x="237" y="859"/>
                  </a:cubicBezTo>
                  <a:cubicBezTo>
                    <a:pt x="239" y="859"/>
                    <a:pt x="241" y="859"/>
                    <a:pt x="243" y="858"/>
                  </a:cubicBezTo>
                  <a:cubicBezTo>
                    <a:pt x="245" y="857"/>
                    <a:pt x="247" y="855"/>
                    <a:pt x="247" y="853"/>
                  </a:cubicBezTo>
                  <a:cubicBezTo>
                    <a:pt x="248" y="851"/>
                    <a:pt x="248" y="849"/>
                    <a:pt x="248" y="847"/>
                  </a:cubicBezTo>
                  <a:cubicBezTo>
                    <a:pt x="248" y="840"/>
                    <a:pt x="248" y="840"/>
                    <a:pt x="248" y="840"/>
                  </a:cubicBezTo>
                  <a:cubicBezTo>
                    <a:pt x="249" y="780"/>
                    <a:pt x="249" y="721"/>
                    <a:pt x="249" y="664"/>
                  </a:cubicBezTo>
                  <a:cubicBezTo>
                    <a:pt x="250" y="649"/>
                    <a:pt x="250" y="635"/>
                    <a:pt x="250" y="621"/>
                  </a:cubicBezTo>
                  <a:cubicBezTo>
                    <a:pt x="250" y="617"/>
                    <a:pt x="250" y="614"/>
                    <a:pt x="250" y="610"/>
                  </a:cubicBezTo>
                  <a:cubicBezTo>
                    <a:pt x="250" y="605"/>
                    <a:pt x="250" y="605"/>
                    <a:pt x="250" y="605"/>
                  </a:cubicBezTo>
                  <a:cubicBezTo>
                    <a:pt x="250" y="603"/>
                    <a:pt x="250" y="601"/>
                    <a:pt x="250" y="599"/>
                  </a:cubicBezTo>
                  <a:cubicBezTo>
                    <a:pt x="250" y="592"/>
                    <a:pt x="251" y="584"/>
                    <a:pt x="253" y="576"/>
                  </a:cubicBezTo>
                  <a:cubicBezTo>
                    <a:pt x="260" y="546"/>
                    <a:pt x="277" y="519"/>
                    <a:pt x="300" y="501"/>
                  </a:cubicBezTo>
                  <a:cubicBezTo>
                    <a:pt x="311" y="492"/>
                    <a:pt x="325" y="484"/>
                    <a:pt x="339" y="480"/>
                  </a:cubicBezTo>
                  <a:cubicBezTo>
                    <a:pt x="347" y="477"/>
                    <a:pt x="354" y="475"/>
                    <a:pt x="362" y="474"/>
                  </a:cubicBezTo>
                  <a:cubicBezTo>
                    <a:pt x="370" y="473"/>
                    <a:pt x="378" y="473"/>
                    <a:pt x="385" y="473"/>
                  </a:cubicBezTo>
                  <a:cubicBezTo>
                    <a:pt x="415" y="473"/>
                    <a:pt x="445" y="481"/>
                    <a:pt x="471" y="492"/>
                  </a:cubicBezTo>
                  <a:cubicBezTo>
                    <a:pt x="498" y="503"/>
                    <a:pt x="522" y="519"/>
                    <a:pt x="544" y="535"/>
                  </a:cubicBezTo>
                  <a:cubicBezTo>
                    <a:pt x="567" y="552"/>
                    <a:pt x="588" y="571"/>
                    <a:pt x="608" y="590"/>
                  </a:cubicBezTo>
                  <a:cubicBezTo>
                    <a:pt x="625" y="606"/>
                    <a:pt x="641" y="622"/>
                    <a:pt x="657" y="637"/>
                  </a:cubicBezTo>
                  <a:cubicBezTo>
                    <a:pt x="664" y="644"/>
                    <a:pt x="672" y="650"/>
                    <a:pt x="679" y="657"/>
                  </a:cubicBezTo>
                  <a:cubicBezTo>
                    <a:pt x="686" y="663"/>
                    <a:pt x="692" y="669"/>
                    <a:pt x="698" y="675"/>
                  </a:cubicBezTo>
                  <a:cubicBezTo>
                    <a:pt x="716" y="692"/>
                    <a:pt x="729" y="705"/>
                    <a:pt x="742" y="718"/>
                  </a:cubicBezTo>
                  <a:cubicBezTo>
                    <a:pt x="755" y="732"/>
                    <a:pt x="744" y="726"/>
                    <a:pt x="711" y="700"/>
                  </a:cubicBezTo>
                  <a:close/>
                  <a:moveTo>
                    <a:pt x="1819" y="841"/>
                  </a:moveTo>
                  <a:cubicBezTo>
                    <a:pt x="1818" y="816"/>
                    <a:pt x="1817" y="792"/>
                    <a:pt x="1816" y="765"/>
                  </a:cubicBezTo>
                  <a:cubicBezTo>
                    <a:pt x="1813" y="676"/>
                    <a:pt x="1810" y="518"/>
                    <a:pt x="1807" y="449"/>
                  </a:cubicBezTo>
                  <a:cubicBezTo>
                    <a:pt x="1805" y="411"/>
                    <a:pt x="1804" y="390"/>
                    <a:pt x="1802" y="426"/>
                  </a:cubicBezTo>
                  <a:cubicBezTo>
                    <a:pt x="1802" y="439"/>
                    <a:pt x="1801" y="448"/>
                    <a:pt x="1801" y="462"/>
                  </a:cubicBezTo>
                  <a:cubicBezTo>
                    <a:pt x="1798" y="501"/>
                    <a:pt x="1797" y="602"/>
                    <a:pt x="1795" y="654"/>
                  </a:cubicBezTo>
                  <a:cubicBezTo>
                    <a:pt x="1795" y="657"/>
                    <a:pt x="1795" y="659"/>
                    <a:pt x="1795" y="662"/>
                  </a:cubicBezTo>
                  <a:cubicBezTo>
                    <a:pt x="1794" y="686"/>
                    <a:pt x="1793" y="710"/>
                    <a:pt x="1792" y="737"/>
                  </a:cubicBezTo>
                  <a:cubicBezTo>
                    <a:pt x="1792" y="742"/>
                    <a:pt x="1792" y="747"/>
                    <a:pt x="1792" y="752"/>
                  </a:cubicBezTo>
                  <a:cubicBezTo>
                    <a:pt x="1792" y="769"/>
                    <a:pt x="1791" y="787"/>
                    <a:pt x="1791" y="805"/>
                  </a:cubicBezTo>
                  <a:cubicBezTo>
                    <a:pt x="1791" y="814"/>
                    <a:pt x="1790" y="824"/>
                    <a:pt x="1790" y="833"/>
                  </a:cubicBezTo>
                  <a:cubicBezTo>
                    <a:pt x="1790" y="835"/>
                    <a:pt x="1790" y="837"/>
                    <a:pt x="1790" y="839"/>
                  </a:cubicBezTo>
                  <a:cubicBezTo>
                    <a:pt x="1790" y="841"/>
                    <a:pt x="1790" y="842"/>
                    <a:pt x="1790" y="844"/>
                  </a:cubicBezTo>
                  <a:cubicBezTo>
                    <a:pt x="1790" y="847"/>
                    <a:pt x="1790" y="850"/>
                    <a:pt x="1789" y="853"/>
                  </a:cubicBezTo>
                  <a:cubicBezTo>
                    <a:pt x="1788" y="855"/>
                    <a:pt x="1787" y="857"/>
                    <a:pt x="1785" y="859"/>
                  </a:cubicBezTo>
                  <a:cubicBezTo>
                    <a:pt x="1783" y="860"/>
                    <a:pt x="1780" y="860"/>
                    <a:pt x="1778" y="860"/>
                  </a:cubicBezTo>
                  <a:cubicBezTo>
                    <a:pt x="1776" y="860"/>
                    <a:pt x="1773" y="861"/>
                    <a:pt x="1771" y="861"/>
                  </a:cubicBezTo>
                  <a:cubicBezTo>
                    <a:pt x="1768" y="861"/>
                    <a:pt x="1765" y="861"/>
                    <a:pt x="1762" y="861"/>
                  </a:cubicBezTo>
                  <a:cubicBezTo>
                    <a:pt x="1754" y="861"/>
                    <a:pt x="1746" y="861"/>
                    <a:pt x="1737" y="861"/>
                  </a:cubicBezTo>
                  <a:cubicBezTo>
                    <a:pt x="1733" y="861"/>
                    <a:pt x="1729" y="861"/>
                    <a:pt x="1725" y="861"/>
                  </a:cubicBezTo>
                  <a:cubicBezTo>
                    <a:pt x="1721" y="861"/>
                    <a:pt x="1717" y="860"/>
                    <a:pt x="1713" y="860"/>
                  </a:cubicBezTo>
                  <a:cubicBezTo>
                    <a:pt x="1698" y="858"/>
                    <a:pt x="1682" y="853"/>
                    <a:pt x="1666" y="846"/>
                  </a:cubicBezTo>
                  <a:cubicBezTo>
                    <a:pt x="1651" y="838"/>
                    <a:pt x="1636" y="828"/>
                    <a:pt x="1623" y="815"/>
                  </a:cubicBezTo>
                  <a:cubicBezTo>
                    <a:pt x="1610" y="802"/>
                    <a:pt x="1600" y="786"/>
                    <a:pt x="1596" y="769"/>
                  </a:cubicBezTo>
                  <a:cubicBezTo>
                    <a:pt x="1595" y="765"/>
                    <a:pt x="1595" y="760"/>
                    <a:pt x="1595" y="756"/>
                  </a:cubicBezTo>
                  <a:cubicBezTo>
                    <a:pt x="1595" y="755"/>
                    <a:pt x="1595" y="754"/>
                    <a:pt x="1595" y="753"/>
                  </a:cubicBezTo>
                  <a:cubicBezTo>
                    <a:pt x="1595" y="748"/>
                    <a:pt x="1595" y="748"/>
                    <a:pt x="1595" y="748"/>
                  </a:cubicBezTo>
                  <a:cubicBezTo>
                    <a:pt x="1595" y="745"/>
                    <a:pt x="1595" y="742"/>
                    <a:pt x="1595" y="739"/>
                  </a:cubicBezTo>
                  <a:cubicBezTo>
                    <a:pt x="1595" y="728"/>
                    <a:pt x="1595" y="716"/>
                    <a:pt x="1596" y="703"/>
                  </a:cubicBezTo>
                  <a:cubicBezTo>
                    <a:pt x="1596" y="679"/>
                    <a:pt x="1596" y="654"/>
                    <a:pt x="1597" y="628"/>
                  </a:cubicBezTo>
                  <a:cubicBezTo>
                    <a:pt x="1597" y="622"/>
                    <a:pt x="1597" y="615"/>
                    <a:pt x="1597" y="609"/>
                  </a:cubicBezTo>
                  <a:cubicBezTo>
                    <a:pt x="1597" y="604"/>
                    <a:pt x="1597" y="604"/>
                    <a:pt x="1597" y="604"/>
                  </a:cubicBezTo>
                  <a:cubicBezTo>
                    <a:pt x="1597" y="602"/>
                    <a:pt x="1597" y="600"/>
                    <a:pt x="1597" y="598"/>
                  </a:cubicBezTo>
                  <a:cubicBezTo>
                    <a:pt x="1597" y="594"/>
                    <a:pt x="1597" y="590"/>
                    <a:pt x="1596" y="586"/>
                  </a:cubicBezTo>
                  <a:cubicBezTo>
                    <a:pt x="1594" y="570"/>
                    <a:pt x="1590" y="555"/>
                    <a:pt x="1583" y="540"/>
                  </a:cubicBezTo>
                  <a:cubicBezTo>
                    <a:pt x="1572" y="518"/>
                    <a:pt x="1554" y="498"/>
                    <a:pt x="1532" y="483"/>
                  </a:cubicBezTo>
                  <a:cubicBezTo>
                    <a:pt x="1521" y="476"/>
                    <a:pt x="1509" y="470"/>
                    <a:pt x="1496" y="466"/>
                  </a:cubicBezTo>
                  <a:cubicBezTo>
                    <a:pt x="1483" y="462"/>
                    <a:pt x="1469" y="460"/>
                    <a:pt x="1456" y="460"/>
                  </a:cubicBezTo>
                  <a:cubicBezTo>
                    <a:pt x="1430" y="460"/>
                    <a:pt x="1404" y="464"/>
                    <a:pt x="1379" y="472"/>
                  </a:cubicBezTo>
                  <a:cubicBezTo>
                    <a:pt x="1353" y="480"/>
                    <a:pt x="1330" y="493"/>
                    <a:pt x="1307" y="507"/>
                  </a:cubicBezTo>
                  <a:cubicBezTo>
                    <a:pt x="1262" y="536"/>
                    <a:pt x="1223" y="573"/>
                    <a:pt x="1184" y="609"/>
                  </a:cubicBezTo>
                  <a:cubicBezTo>
                    <a:pt x="1174" y="618"/>
                    <a:pt x="1164" y="627"/>
                    <a:pt x="1154" y="636"/>
                  </a:cubicBezTo>
                  <a:cubicBezTo>
                    <a:pt x="1144" y="645"/>
                    <a:pt x="1133" y="654"/>
                    <a:pt x="1123" y="664"/>
                  </a:cubicBezTo>
                  <a:cubicBezTo>
                    <a:pt x="1102" y="683"/>
                    <a:pt x="1081" y="702"/>
                    <a:pt x="1059" y="720"/>
                  </a:cubicBezTo>
                  <a:cubicBezTo>
                    <a:pt x="1042" y="734"/>
                    <a:pt x="1025" y="748"/>
                    <a:pt x="1007" y="759"/>
                  </a:cubicBezTo>
                  <a:cubicBezTo>
                    <a:pt x="989" y="771"/>
                    <a:pt x="970" y="780"/>
                    <a:pt x="952" y="785"/>
                  </a:cubicBezTo>
                  <a:cubicBezTo>
                    <a:pt x="933" y="790"/>
                    <a:pt x="914" y="791"/>
                    <a:pt x="896" y="787"/>
                  </a:cubicBezTo>
                  <a:cubicBezTo>
                    <a:pt x="877" y="783"/>
                    <a:pt x="859" y="775"/>
                    <a:pt x="841" y="764"/>
                  </a:cubicBezTo>
                  <a:cubicBezTo>
                    <a:pt x="822" y="753"/>
                    <a:pt x="805" y="740"/>
                    <a:pt x="787" y="726"/>
                  </a:cubicBezTo>
                  <a:cubicBezTo>
                    <a:pt x="770" y="711"/>
                    <a:pt x="753" y="696"/>
                    <a:pt x="735" y="680"/>
                  </a:cubicBezTo>
                  <a:cubicBezTo>
                    <a:pt x="718" y="664"/>
                    <a:pt x="701" y="648"/>
                    <a:pt x="683" y="632"/>
                  </a:cubicBezTo>
                  <a:cubicBezTo>
                    <a:pt x="666" y="617"/>
                    <a:pt x="649" y="601"/>
                    <a:pt x="632" y="584"/>
                  </a:cubicBezTo>
                  <a:cubicBezTo>
                    <a:pt x="597" y="552"/>
                    <a:pt x="560" y="518"/>
                    <a:pt x="515" y="492"/>
                  </a:cubicBezTo>
                  <a:cubicBezTo>
                    <a:pt x="493" y="480"/>
                    <a:pt x="469" y="469"/>
                    <a:pt x="443" y="462"/>
                  </a:cubicBezTo>
                  <a:cubicBezTo>
                    <a:pt x="430" y="458"/>
                    <a:pt x="416" y="456"/>
                    <a:pt x="403" y="455"/>
                  </a:cubicBezTo>
                  <a:cubicBezTo>
                    <a:pt x="396" y="454"/>
                    <a:pt x="389" y="454"/>
                    <a:pt x="382" y="454"/>
                  </a:cubicBezTo>
                  <a:cubicBezTo>
                    <a:pt x="375" y="454"/>
                    <a:pt x="368" y="454"/>
                    <a:pt x="360" y="455"/>
                  </a:cubicBezTo>
                  <a:cubicBezTo>
                    <a:pt x="330" y="460"/>
                    <a:pt x="302" y="473"/>
                    <a:pt x="281" y="494"/>
                  </a:cubicBezTo>
                  <a:cubicBezTo>
                    <a:pt x="259" y="514"/>
                    <a:pt x="243" y="541"/>
                    <a:pt x="236" y="570"/>
                  </a:cubicBezTo>
                  <a:cubicBezTo>
                    <a:pt x="235" y="577"/>
                    <a:pt x="233" y="584"/>
                    <a:pt x="233" y="592"/>
                  </a:cubicBezTo>
                  <a:cubicBezTo>
                    <a:pt x="232" y="595"/>
                    <a:pt x="232" y="599"/>
                    <a:pt x="232" y="603"/>
                  </a:cubicBezTo>
                  <a:cubicBezTo>
                    <a:pt x="232" y="612"/>
                    <a:pt x="232" y="612"/>
                    <a:pt x="232" y="612"/>
                  </a:cubicBezTo>
                  <a:cubicBezTo>
                    <a:pt x="232" y="623"/>
                    <a:pt x="232" y="635"/>
                    <a:pt x="232" y="647"/>
                  </a:cubicBezTo>
                  <a:cubicBezTo>
                    <a:pt x="232" y="670"/>
                    <a:pt x="232" y="693"/>
                    <a:pt x="232" y="716"/>
                  </a:cubicBezTo>
                  <a:cubicBezTo>
                    <a:pt x="232" y="788"/>
                    <a:pt x="232" y="788"/>
                    <a:pt x="232" y="788"/>
                  </a:cubicBezTo>
                  <a:cubicBezTo>
                    <a:pt x="232" y="824"/>
                    <a:pt x="232" y="824"/>
                    <a:pt x="232" y="824"/>
                  </a:cubicBezTo>
                  <a:cubicBezTo>
                    <a:pt x="232" y="838"/>
                    <a:pt x="232" y="838"/>
                    <a:pt x="232" y="838"/>
                  </a:cubicBezTo>
                  <a:cubicBezTo>
                    <a:pt x="232" y="839"/>
                    <a:pt x="232" y="840"/>
                    <a:pt x="232" y="841"/>
                  </a:cubicBezTo>
                  <a:cubicBezTo>
                    <a:pt x="232" y="842"/>
                    <a:pt x="231" y="843"/>
                    <a:pt x="230" y="843"/>
                  </a:cubicBezTo>
                  <a:cubicBezTo>
                    <a:pt x="229" y="844"/>
                    <a:pt x="228" y="844"/>
                    <a:pt x="227" y="844"/>
                  </a:cubicBezTo>
                  <a:cubicBezTo>
                    <a:pt x="225" y="844"/>
                    <a:pt x="225" y="844"/>
                    <a:pt x="225" y="844"/>
                  </a:cubicBezTo>
                  <a:cubicBezTo>
                    <a:pt x="217" y="844"/>
                    <a:pt x="217" y="844"/>
                    <a:pt x="217" y="844"/>
                  </a:cubicBezTo>
                  <a:cubicBezTo>
                    <a:pt x="211" y="844"/>
                    <a:pt x="206" y="844"/>
                    <a:pt x="200" y="844"/>
                  </a:cubicBezTo>
                  <a:cubicBezTo>
                    <a:pt x="182" y="844"/>
                    <a:pt x="182" y="844"/>
                    <a:pt x="182" y="844"/>
                  </a:cubicBezTo>
                  <a:cubicBezTo>
                    <a:pt x="178" y="844"/>
                    <a:pt x="173" y="844"/>
                    <a:pt x="169" y="843"/>
                  </a:cubicBezTo>
                  <a:cubicBezTo>
                    <a:pt x="159" y="842"/>
                    <a:pt x="150" y="840"/>
                    <a:pt x="141" y="836"/>
                  </a:cubicBezTo>
                  <a:cubicBezTo>
                    <a:pt x="123" y="830"/>
                    <a:pt x="106" y="819"/>
                    <a:pt x="93" y="806"/>
                  </a:cubicBezTo>
                  <a:cubicBezTo>
                    <a:pt x="79" y="792"/>
                    <a:pt x="70" y="777"/>
                    <a:pt x="68" y="762"/>
                  </a:cubicBezTo>
                  <a:cubicBezTo>
                    <a:pt x="68" y="760"/>
                    <a:pt x="68" y="758"/>
                    <a:pt x="68" y="756"/>
                  </a:cubicBezTo>
                  <a:cubicBezTo>
                    <a:pt x="68" y="755"/>
                    <a:pt x="68" y="754"/>
                    <a:pt x="68" y="754"/>
                  </a:cubicBezTo>
                  <a:cubicBezTo>
                    <a:pt x="67" y="749"/>
                    <a:pt x="67" y="749"/>
                    <a:pt x="67" y="749"/>
                  </a:cubicBezTo>
                  <a:cubicBezTo>
                    <a:pt x="68" y="731"/>
                    <a:pt x="68" y="731"/>
                    <a:pt x="68" y="731"/>
                  </a:cubicBezTo>
                  <a:cubicBezTo>
                    <a:pt x="68" y="696"/>
                    <a:pt x="68" y="696"/>
                    <a:pt x="68" y="696"/>
                  </a:cubicBezTo>
                  <a:cubicBezTo>
                    <a:pt x="68" y="672"/>
                    <a:pt x="68" y="648"/>
                    <a:pt x="68" y="624"/>
                  </a:cubicBezTo>
                  <a:cubicBezTo>
                    <a:pt x="68" y="438"/>
                    <a:pt x="68" y="73"/>
                    <a:pt x="68" y="69"/>
                  </a:cubicBezTo>
                  <a:cubicBezTo>
                    <a:pt x="68" y="65"/>
                    <a:pt x="70" y="64"/>
                    <a:pt x="74" y="64"/>
                  </a:cubicBezTo>
                  <a:cubicBezTo>
                    <a:pt x="77" y="64"/>
                    <a:pt x="122" y="64"/>
                    <a:pt x="147" y="64"/>
                  </a:cubicBezTo>
                  <a:cubicBezTo>
                    <a:pt x="161" y="64"/>
                    <a:pt x="176" y="64"/>
                    <a:pt x="191" y="64"/>
                  </a:cubicBezTo>
                  <a:cubicBezTo>
                    <a:pt x="213" y="64"/>
                    <a:pt x="213" y="64"/>
                    <a:pt x="213" y="64"/>
                  </a:cubicBezTo>
                  <a:cubicBezTo>
                    <a:pt x="217" y="64"/>
                    <a:pt x="219" y="64"/>
                    <a:pt x="222" y="64"/>
                  </a:cubicBezTo>
                  <a:cubicBezTo>
                    <a:pt x="225" y="65"/>
                    <a:pt x="228" y="65"/>
                    <a:pt x="231" y="65"/>
                  </a:cubicBezTo>
                  <a:cubicBezTo>
                    <a:pt x="256" y="68"/>
                    <a:pt x="280" y="75"/>
                    <a:pt x="302" y="87"/>
                  </a:cubicBezTo>
                  <a:cubicBezTo>
                    <a:pt x="313" y="92"/>
                    <a:pt x="323" y="99"/>
                    <a:pt x="332" y="107"/>
                  </a:cubicBezTo>
                  <a:cubicBezTo>
                    <a:pt x="335" y="109"/>
                    <a:pt x="337" y="111"/>
                    <a:pt x="339" y="113"/>
                  </a:cubicBezTo>
                  <a:cubicBezTo>
                    <a:pt x="347" y="120"/>
                    <a:pt x="347" y="120"/>
                    <a:pt x="347" y="120"/>
                  </a:cubicBezTo>
                  <a:cubicBezTo>
                    <a:pt x="363" y="135"/>
                    <a:pt x="363" y="135"/>
                    <a:pt x="363" y="135"/>
                  </a:cubicBezTo>
                  <a:cubicBezTo>
                    <a:pt x="421" y="190"/>
                    <a:pt x="480" y="245"/>
                    <a:pt x="538" y="298"/>
                  </a:cubicBezTo>
                  <a:cubicBezTo>
                    <a:pt x="539" y="298"/>
                    <a:pt x="539" y="298"/>
                    <a:pt x="539" y="298"/>
                  </a:cubicBezTo>
                  <a:cubicBezTo>
                    <a:pt x="540" y="300"/>
                    <a:pt x="540" y="300"/>
                    <a:pt x="540" y="300"/>
                  </a:cubicBezTo>
                  <a:cubicBezTo>
                    <a:pt x="543" y="303"/>
                    <a:pt x="543" y="303"/>
                    <a:pt x="543" y="303"/>
                  </a:cubicBezTo>
                  <a:cubicBezTo>
                    <a:pt x="548" y="308"/>
                    <a:pt x="548" y="308"/>
                    <a:pt x="548" y="308"/>
                  </a:cubicBezTo>
                  <a:cubicBezTo>
                    <a:pt x="552" y="312"/>
                    <a:pt x="556" y="315"/>
                    <a:pt x="560" y="318"/>
                  </a:cubicBezTo>
                  <a:cubicBezTo>
                    <a:pt x="568" y="325"/>
                    <a:pt x="576" y="332"/>
                    <a:pt x="584" y="338"/>
                  </a:cubicBezTo>
                  <a:cubicBezTo>
                    <a:pt x="600" y="351"/>
                    <a:pt x="617" y="362"/>
                    <a:pt x="635" y="373"/>
                  </a:cubicBezTo>
                  <a:cubicBezTo>
                    <a:pt x="669" y="393"/>
                    <a:pt x="706" y="409"/>
                    <a:pt x="742" y="421"/>
                  </a:cubicBezTo>
                  <a:cubicBezTo>
                    <a:pt x="778" y="433"/>
                    <a:pt x="815" y="440"/>
                    <a:pt x="850" y="444"/>
                  </a:cubicBezTo>
                  <a:cubicBezTo>
                    <a:pt x="885" y="447"/>
                    <a:pt x="918" y="448"/>
                    <a:pt x="950" y="446"/>
                  </a:cubicBezTo>
                  <a:cubicBezTo>
                    <a:pt x="1014" y="441"/>
                    <a:pt x="1069" y="427"/>
                    <a:pt x="1113" y="409"/>
                  </a:cubicBezTo>
                  <a:cubicBezTo>
                    <a:pt x="1153" y="393"/>
                    <a:pt x="1190" y="373"/>
                    <a:pt x="1221" y="350"/>
                  </a:cubicBezTo>
                  <a:cubicBezTo>
                    <a:pt x="1237" y="339"/>
                    <a:pt x="1252" y="327"/>
                    <a:pt x="1266" y="314"/>
                  </a:cubicBezTo>
                  <a:cubicBezTo>
                    <a:pt x="1273" y="308"/>
                    <a:pt x="1280" y="302"/>
                    <a:pt x="1286" y="295"/>
                  </a:cubicBezTo>
                  <a:cubicBezTo>
                    <a:pt x="1293" y="289"/>
                    <a:pt x="1299" y="283"/>
                    <a:pt x="1305" y="277"/>
                  </a:cubicBezTo>
                  <a:cubicBezTo>
                    <a:pt x="1389" y="194"/>
                    <a:pt x="1455" y="129"/>
                    <a:pt x="1485" y="97"/>
                  </a:cubicBezTo>
                  <a:cubicBezTo>
                    <a:pt x="1500" y="82"/>
                    <a:pt x="1512" y="69"/>
                    <a:pt x="1523" y="58"/>
                  </a:cubicBezTo>
                  <a:cubicBezTo>
                    <a:pt x="1524" y="56"/>
                    <a:pt x="1525" y="55"/>
                    <a:pt x="1526" y="54"/>
                  </a:cubicBezTo>
                  <a:cubicBezTo>
                    <a:pt x="1527" y="53"/>
                    <a:pt x="1528" y="52"/>
                    <a:pt x="1529" y="50"/>
                  </a:cubicBezTo>
                  <a:cubicBezTo>
                    <a:pt x="1530" y="50"/>
                    <a:pt x="1530" y="49"/>
                    <a:pt x="1531" y="49"/>
                  </a:cubicBezTo>
                  <a:cubicBezTo>
                    <a:pt x="1531" y="48"/>
                    <a:pt x="1532" y="48"/>
                    <a:pt x="1532" y="48"/>
                  </a:cubicBezTo>
                  <a:cubicBezTo>
                    <a:pt x="1533" y="46"/>
                    <a:pt x="1546" y="39"/>
                    <a:pt x="1548" y="38"/>
                  </a:cubicBezTo>
                  <a:cubicBezTo>
                    <a:pt x="1548" y="37"/>
                    <a:pt x="1562" y="31"/>
                    <a:pt x="1564" y="30"/>
                  </a:cubicBezTo>
                  <a:cubicBezTo>
                    <a:pt x="1570" y="27"/>
                    <a:pt x="1557" y="23"/>
                    <a:pt x="1548" y="23"/>
                  </a:cubicBezTo>
                  <a:cubicBezTo>
                    <a:pt x="1538" y="23"/>
                    <a:pt x="1527" y="27"/>
                    <a:pt x="1524" y="29"/>
                  </a:cubicBezTo>
                  <a:cubicBezTo>
                    <a:pt x="1517" y="33"/>
                    <a:pt x="1509" y="42"/>
                    <a:pt x="1503" y="46"/>
                  </a:cubicBezTo>
                  <a:cubicBezTo>
                    <a:pt x="1495" y="53"/>
                    <a:pt x="1485" y="61"/>
                    <a:pt x="1474" y="70"/>
                  </a:cubicBezTo>
                  <a:cubicBezTo>
                    <a:pt x="1445" y="94"/>
                    <a:pt x="1362" y="170"/>
                    <a:pt x="1256" y="268"/>
                  </a:cubicBezTo>
                  <a:cubicBezTo>
                    <a:pt x="1252" y="271"/>
                    <a:pt x="1249" y="274"/>
                    <a:pt x="1246" y="277"/>
                  </a:cubicBezTo>
                  <a:cubicBezTo>
                    <a:pt x="1243" y="280"/>
                    <a:pt x="1239" y="283"/>
                    <a:pt x="1236" y="285"/>
                  </a:cubicBezTo>
                  <a:cubicBezTo>
                    <a:pt x="1229" y="291"/>
                    <a:pt x="1222" y="297"/>
                    <a:pt x="1215" y="302"/>
                  </a:cubicBezTo>
                  <a:cubicBezTo>
                    <a:pt x="1201" y="313"/>
                    <a:pt x="1185" y="323"/>
                    <a:pt x="1169" y="332"/>
                  </a:cubicBezTo>
                  <a:cubicBezTo>
                    <a:pt x="1136" y="351"/>
                    <a:pt x="1100" y="366"/>
                    <a:pt x="1062" y="377"/>
                  </a:cubicBezTo>
                  <a:cubicBezTo>
                    <a:pt x="987" y="398"/>
                    <a:pt x="904" y="402"/>
                    <a:pt x="827" y="387"/>
                  </a:cubicBezTo>
                  <a:cubicBezTo>
                    <a:pt x="758" y="374"/>
                    <a:pt x="692" y="347"/>
                    <a:pt x="636" y="306"/>
                  </a:cubicBezTo>
                  <a:cubicBezTo>
                    <a:pt x="622" y="296"/>
                    <a:pt x="608" y="285"/>
                    <a:pt x="596" y="273"/>
                  </a:cubicBezTo>
                  <a:cubicBezTo>
                    <a:pt x="593" y="270"/>
                    <a:pt x="589" y="267"/>
                    <a:pt x="586" y="264"/>
                  </a:cubicBezTo>
                  <a:cubicBezTo>
                    <a:pt x="582" y="259"/>
                    <a:pt x="582" y="259"/>
                    <a:pt x="582" y="259"/>
                  </a:cubicBezTo>
                  <a:cubicBezTo>
                    <a:pt x="579" y="257"/>
                    <a:pt x="579" y="257"/>
                    <a:pt x="579" y="257"/>
                  </a:cubicBezTo>
                  <a:cubicBezTo>
                    <a:pt x="576" y="254"/>
                    <a:pt x="576" y="254"/>
                    <a:pt x="576" y="254"/>
                  </a:cubicBezTo>
                  <a:cubicBezTo>
                    <a:pt x="556" y="235"/>
                    <a:pt x="556" y="235"/>
                    <a:pt x="556" y="235"/>
                  </a:cubicBezTo>
                  <a:cubicBezTo>
                    <a:pt x="530" y="210"/>
                    <a:pt x="504" y="185"/>
                    <a:pt x="477" y="159"/>
                  </a:cubicBezTo>
                  <a:cubicBezTo>
                    <a:pt x="450" y="134"/>
                    <a:pt x="424" y="108"/>
                    <a:pt x="397" y="83"/>
                  </a:cubicBezTo>
                  <a:cubicBezTo>
                    <a:pt x="387" y="73"/>
                    <a:pt x="387" y="73"/>
                    <a:pt x="387" y="73"/>
                  </a:cubicBezTo>
                  <a:cubicBezTo>
                    <a:pt x="382" y="68"/>
                    <a:pt x="382" y="68"/>
                    <a:pt x="382" y="68"/>
                  </a:cubicBezTo>
                  <a:cubicBezTo>
                    <a:pt x="380" y="66"/>
                    <a:pt x="378" y="64"/>
                    <a:pt x="376" y="63"/>
                  </a:cubicBezTo>
                  <a:cubicBezTo>
                    <a:pt x="368" y="56"/>
                    <a:pt x="360" y="50"/>
                    <a:pt x="351" y="44"/>
                  </a:cubicBezTo>
                  <a:cubicBezTo>
                    <a:pt x="334" y="32"/>
                    <a:pt x="315" y="22"/>
                    <a:pt x="295" y="15"/>
                  </a:cubicBezTo>
                  <a:cubicBezTo>
                    <a:pt x="275" y="8"/>
                    <a:pt x="254" y="4"/>
                    <a:pt x="233" y="2"/>
                  </a:cubicBezTo>
                  <a:cubicBezTo>
                    <a:pt x="230" y="2"/>
                    <a:pt x="228" y="1"/>
                    <a:pt x="225" y="1"/>
                  </a:cubicBezTo>
                  <a:cubicBezTo>
                    <a:pt x="221" y="1"/>
                    <a:pt x="221" y="1"/>
                    <a:pt x="221" y="1"/>
                  </a:cubicBezTo>
                  <a:cubicBezTo>
                    <a:pt x="217" y="1"/>
                    <a:pt x="217" y="1"/>
                    <a:pt x="217" y="1"/>
                  </a:cubicBezTo>
                  <a:cubicBezTo>
                    <a:pt x="202" y="1"/>
                    <a:pt x="202" y="1"/>
                    <a:pt x="202" y="1"/>
                  </a:cubicBezTo>
                  <a:cubicBezTo>
                    <a:pt x="193" y="1"/>
                    <a:pt x="184" y="1"/>
                    <a:pt x="174" y="1"/>
                  </a:cubicBezTo>
                  <a:cubicBezTo>
                    <a:pt x="132" y="0"/>
                    <a:pt x="87" y="0"/>
                    <a:pt x="46" y="0"/>
                  </a:cubicBezTo>
                  <a:cubicBezTo>
                    <a:pt x="5" y="0"/>
                    <a:pt x="3" y="30"/>
                    <a:pt x="3" y="42"/>
                  </a:cubicBezTo>
                  <a:cubicBezTo>
                    <a:pt x="3" y="54"/>
                    <a:pt x="3" y="121"/>
                    <a:pt x="3" y="162"/>
                  </a:cubicBezTo>
                  <a:cubicBezTo>
                    <a:pt x="2" y="262"/>
                    <a:pt x="2" y="363"/>
                    <a:pt x="1" y="470"/>
                  </a:cubicBezTo>
                  <a:cubicBezTo>
                    <a:pt x="1" y="520"/>
                    <a:pt x="1" y="572"/>
                    <a:pt x="0" y="625"/>
                  </a:cubicBezTo>
                  <a:cubicBezTo>
                    <a:pt x="0" y="652"/>
                    <a:pt x="0" y="678"/>
                    <a:pt x="0" y="705"/>
                  </a:cubicBezTo>
                  <a:cubicBezTo>
                    <a:pt x="0" y="719"/>
                    <a:pt x="0" y="732"/>
                    <a:pt x="0" y="746"/>
                  </a:cubicBezTo>
                  <a:cubicBezTo>
                    <a:pt x="0" y="751"/>
                    <a:pt x="0" y="751"/>
                    <a:pt x="0" y="751"/>
                  </a:cubicBezTo>
                  <a:cubicBezTo>
                    <a:pt x="0" y="754"/>
                    <a:pt x="0" y="754"/>
                    <a:pt x="0" y="754"/>
                  </a:cubicBezTo>
                  <a:cubicBezTo>
                    <a:pt x="0" y="757"/>
                    <a:pt x="0" y="757"/>
                    <a:pt x="0" y="757"/>
                  </a:cubicBezTo>
                  <a:cubicBezTo>
                    <a:pt x="0" y="762"/>
                    <a:pt x="1" y="766"/>
                    <a:pt x="1" y="771"/>
                  </a:cubicBezTo>
                  <a:cubicBezTo>
                    <a:pt x="3" y="780"/>
                    <a:pt x="5" y="789"/>
                    <a:pt x="8" y="798"/>
                  </a:cubicBezTo>
                  <a:cubicBezTo>
                    <a:pt x="15" y="815"/>
                    <a:pt x="24" y="830"/>
                    <a:pt x="35" y="843"/>
                  </a:cubicBezTo>
                  <a:cubicBezTo>
                    <a:pt x="47" y="856"/>
                    <a:pt x="59" y="867"/>
                    <a:pt x="73" y="877"/>
                  </a:cubicBezTo>
                  <a:cubicBezTo>
                    <a:pt x="87" y="886"/>
                    <a:pt x="101" y="893"/>
                    <a:pt x="117" y="899"/>
                  </a:cubicBezTo>
                  <a:cubicBezTo>
                    <a:pt x="132" y="905"/>
                    <a:pt x="149" y="909"/>
                    <a:pt x="166" y="911"/>
                  </a:cubicBezTo>
                  <a:cubicBezTo>
                    <a:pt x="170" y="912"/>
                    <a:pt x="175" y="912"/>
                    <a:pt x="179" y="912"/>
                  </a:cubicBezTo>
                  <a:cubicBezTo>
                    <a:pt x="191" y="912"/>
                    <a:pt x="191" y="912"/>
                    <a:pt x="191" y="912"/>
                  </a:cubicBezTo>
                  <a:cubicBezTo>
                    <a:pt x="198" y="912"/>
                    <a:pt x="205" y="912"/>
                    <a:pt x="212" y="912"/>
                  </a:cubicBezTo>
                  <a:cubicBezTo>
                    <a:pt x="224" y="912"/>
                    <a:pt x="224" y="912"/>
                    <a:pt x="224" y="912"/>
                  </a:cubicBezTo>
                  <a:cubicBezTo>
                    <a:pt x="229" y="911"/>
                    <a:pt x="229" y="911"/>
                    <a:pt x="229" y="911"/>
                  </a:cubicBezTo>
                  <a:cubicBezTo>
                    <a:pt x="234" y="911"/>
                    <a:pt x="234" y="911"/>
                    <a:pt x="234" y="911"/>
                  </a:cubicBezTo>
                  <a:cubicBezTo>
                    <a:pt x="239" y="911"/>
                    <a:pt x="239" y="911"/>
                    <a:pt x="239" y="911"/>
                  </a:cubicBezTo>
                  <a:cubicBezTo>
                    <a:pt x="252" y="909"/>
                    <a:pt x="265" y="908"/>
                    <a:pt x="275" y="901"/>
                  </a:cubicBezTo>
                  <a:cubicBezTo>
                    <a:pt x="280" y="899"/>
                    <a:pt x="285" y="894"/>
                    <a:pt x="289" y="889"/>
                  </a:cubicBezTo>
                  <a:cubicBezTo>
                    <a:pt x="292" y="885"/>
                    <a:pt x="295" y="879"/>
                    <a:pt x="297" y="874"/>
                  </a:cubicBezTo>
                  <a:cubicBezTo>
                    <a:pt x="297" y="871"/>
                    <a:pt x="298" y="868"/>
                    <a:pt x="299" y="865"/>
                  </a:cubicBezTo>
                  <a:cubicBezTo>
                    <a:pt x="299" y="861"/>
                    <a:pt x="299" y="858"/>
                    <a:pt x="299" y="855"/>
                  </a:cubicBezTo>
                  <a:cubicBezTo>
                    <a:pt x="299" y="836"/>
                    <a:pt x="299" y="836"/>
                    <a:pt x="299" y="836"/>
                  </a:cubicBezTo>
                  <a:cubicBezTo>
                    <a:pt x="299" y="822"/>
                    <a:pt x="299" y="808"/>
                    <a:pt x="299" y="794"/>
                  </a:cubicBezTo>
                  <a:cubicBezTo>
                    <a:pt x="299" y="737"/>
                    <a:pt x="299" y="680"/>
                    <a:pt x="299" y="623"/>
                  </a:cubicBezTo>
                  <a:cubicBezTo>
                    <a:pt x="300" y="602"/>
                    <a:pt x="300" y="602"/>
                    <a:pt x="300" y="602"/>
                  </a:cubicBezTo>
                  <a:cubicBezTo>
                    <a:pt x="300" y="597"/>
                    <a:pt x="300" y="592"/>
                    <a:pt x="301" y="587"/>
                  </a:cubicBezTo>
                  <a:cubicBezTo>
                    <a:pt x="303" y="577"/>
                    <a:pt x="307" y="568"/>
                    <a:pt x="313" y="559"/>
                  </a:cubicBezTo>
                  <a:cubicBezTo>
                    <a:pt x="324" y="542"/>
                    <a:pt x="341" y="529"/>
                    <a:pt x="360" y="524"/>
                  </a:cubicBezTo>
                  <a:cubicBezTo>
                    <a:pt x="365" y="522"/>
                    <a:pt x="370" y="521"/>
                    <a:pt x="375" y="521"/>
                  </a:cubicBezTo>
                  <a:cubicBezTo>
                    <a:pt x="377" y="521"/>
                    <a:pt x="379" y="521"/>
                    <a:pt x="382" y="521"/>
                  </a:cubicBezTo>
                  <a:cubicBezTo>
                    <a:pt x="385" y="521"/>
                    <a:pt x="388" y="521"/>
                    <a:pt x="391" y="521"/>
                  </a:cubicBezTo>
                  <a:cubicBezTo>
                    <a:pt x="403" y="521"/>
                    <a:pt x="415" y="523"/>
                    <a:pt x="426" y="526"/>
                  </a:cubicBezTo>
                  <a:cubicBezTo>
                    <a:pt x="450" y="532"/>
                    <a:pt x="472" y="543"/>
                    <a:pt x="494" y="557"/>
                  </a:cubicBezTo>
                  <a:cubicBezTo>
                    <a:pt x="516" y="571"/>
                    <a:pt x="537" y="588"/>
                    <a:pt x="557" y="606"/>
                  </a:cubicBezTo>
                  <a:cubicBezTo>
                    <a:pt x="578" y="623"/>
                    <a:pt x="598" y="643"/>
                    <a:pt x="619" y="662"/>
                  </a:cubicBezTo>
                  <a:cubicBezTo>
                    <a:pt x="629" y="672"/>
                    <a:pt x="640" y="682"/>
                    <a:pt x="650" y="690"/>
                  </a:cubicBezTo>
                  <a:cubicBezTo>
                    <a:pt x="661" y="700"/>
                    <a:pt x="671" y="709"/>
                    <a:pt x="681" y="718"/>
                  </a:cubicBezTo>
                  <a:cubicBezTo>
                    <a:pt x="702" y="737"/>
                    <a:pt x="722" y="756"/>
                    <a:pt x="744" y="774"/>
                  </a:cubicBezTo>
                  <a:cubicBezTo>
                    <a:pt x="766" y="792"/>
                    <a:pt x="790" y="810"/>
                    <a:pt x="816" y="824"/>
                  </a:cubicBezTo>
                  <a:cubicBezTo>
                    <a:pt x="830" y="832"/>
                    <a:pt x="844" y="838"/>
                    <a:pt x="859" y="843"/>
                  </a:cubicBezTo>
                  <a:cubicBezTo>
                    <a:pt x="874" y="848"/>
                    <a:pt x="890" y="851"/>
                    <a:pt x="907" y="852"/>
                  </a:cubicBezTo>
                  <a:cubicBezTo>
                    <a:pt x="923" y="853"/>
                    <a:pt x="939" y="852"/>
                    <a:pt x="955" y="849"/>
                  </a:cubicBezTo>
                  <a:cubicBezTo>
                    <a:pt x="970" y="846"/>
                    <a:pt x="985" y="841"/>
                    <a:pt x="999" y="835"/>
                  </a:cubicBezTo>
                  <a:cubicBezTo>
                    <a:pt x="1027" y="822"/>
                    <a:pt x="1050" y="806"/>
                    <a:pt x="1072" y="790"/>
                  </a:cubicBezTo>
                  <a:cubicBezTo>
                    <a:pt x="1093" y="773"/>
                    <a:pt x="1113" y="756"/>
                    <a:pt x="1131" y="739"/>
                  </a:cubicBezTo>
                  <a:cubicBezTo>
                    <a:pt x="1150" y="722"/>
                    <a:pt x="1168" y="705"/>
                    <a:pt x="1186" y="689"/>
                  </a:cubicBezTo>
                  <a:cubicBezTo>
                    <a:pt x="1191" y="685"/>
                    <a:pt x="1195" y="681"/>
                    <a:pt x="1199" y="677"/>
                  </a:cubicBezTo>
                  <a:cubicBezTo>
                    <a:pt x="1204" y="673"/>
                    <a:pt x="1209" y="668"/>
                    <a:pt x="1213" y="664"/>
                  </a:cubicBezTo>
                  <a:cubicBezTo>
                    <a:pt x="1222" y="656"/>
                    <a:pt x="1231" y="648"/>
                    <a:pt x="1239" y="639"/>
                  </a:cubicBezTo>
                  <a:cubicBezTo>
                    <a:pt x="1256" y="623"/>
                    <a:pt x="1273" y="608"/>
                    <a:pt x="1290" y="593"/>
                  </a:cubicBezTo>
                  <a:cubicBezTo>
                    <a:pt x="1323" y="564"/>
                    <a:pt x="1357" y="541"/>
                    <a:pt x="1392" y="527"/>
                  </a:cubicBezTo>
                  <a:cubicBezTo>
                    <a:pt x="1410" y="521"/>
                    <a:pt x="1427" y="517"/>
                    <a:pt x="1445" y="515"/>
                  </a:cubicBezTo>
                  <a:cubicBezTo>
                    <a:pt x="1449" y="515"/>
                    <a:pt x="1454" y="515"/>
                    <a:pt x="1458" y="515"/>
                  </a:cubicBezTo>
                  <a:cubicBezTo>
                    <a:pt x="1461" y="515"/>
                    <a:pt x="1465" y="515"/>
                    <a:pt x="1469" y="515"/>
                  </a:cubicBezTo>
                  <a:cubicBezTo>
                    <a:pt x="1476" y="516"/>
                    <a:pt x="1483" y="518"/>
                    <a:pt x="1490" y="521"/>
                  </a:cubicBezTo>
                  <a:cubicBezTo>
                    <a:pt x="1504" y="527"/>
                    <a:pt x="1516" y="536"/>
                    <a:pt x="1525" y="546"/>
                  </a:cubicBezTo>
                  <a:cubicBezTo>
                    <a:pt x="1534" y="557"/>
                    <a:pt x="1540" y="570"/>
                    <a:pt x="1544" y="583"/>
                  </a:cubicBezTo>
                  <a:cubicBezTo>
                    <a:pt x="1546" y="589"/>
                    <a:pt x="1546" y="596"/>
                    <a:pt x="1547" y="602"/>
                  </a:cubicBezTo>
                  <a:cubicBezTo>
                    <a:pt x="1547" y="611"/>
                    <a:pt x="1547" y="619"/>
                    <a:pt x="1547" y="627"/>
                  </a:cubicBezTo>
                  <a:cubicBezTo>
                    <a:pt x="1547" y="644"/>
                    <a:pt x="1548" y="660"/>
                    <a:pt x="1548" y="675"/>
                  </a:cubicBezTo>
                  <a:cubicBezTo>
                    <a:pt x="1548" y="691"/>
                    <a:pt x="1548" y="706"/>
                    <a:pt x="1549" y="721"/>
                  </a:cubicBezTo>
                  <a:cubicBezTo>
                    <a:pt x="1549" y="728"/>
                    <a:pt x="1549" y="736"/>
                    <a:pt x="1549" y="743"/>
                  </a:cubicBezTo>
                  <a:cubicBezTo>
                    <a:pt x="1549" y="746"/>
                    <a:pt x="1549" y="750"/>
                    <a:pt x="1549" y="754"/>
                  </a:cubicBezTo>
                  <a:cubicBezTo>
                    <a:pt x="1549" y="758"/>
                    <a:pt x="1550" y="762"/>
                    <a:pt x="1550" y="767"/>
                  </a:cubicBezTo>
                  <a:cubicBezTo>
                    <a:pt x="1553" y="784"/>
                    <a:pt x="1559" y="799"/>
                    <a:pt x="1566" y="812"/>
                  </a:cubicBezTo>
                  <a:cubicBezTo>
                    <a:pt x="1574" y="825"/>
                    <a:pt x="1583" y="835"/>
                    <a:pt x="1593" y="844"/>
                  </a:cubicBezTo>
                  <a:cubicBezTo>
                    <a:pt x="1611" y="862"/>
                    <a:pt x="1632" y="874"/>
                    <a:pt x="1651" y="882"/>
                  </a:cubicBezTo>
                  <a:cubicBezTo>
                    <a:pt x="1670" y="890"/>
                    <a:pt x="1689" y="894"/>
                    <a:pt x="1707" y="896"/>
                  </a:cubicBezTo>
                  <a:cubicBezTo>
                    <a:pt x="1716" y="897"/>
                    <a:pt x="1726" y="897"/>
                    <a:pt x="1733" y="896"/>
                  </a:cubicBezTo>
                  <a:cubicBezTo>
                    <a:pt x="1741" y="896"/>
                    <a:pt x="1748" y="896"/>
                    <a:pt x="1755" y="895"/>
                  </a:cubicBezTo>
                  <a:cubicBezTo>
                    <a:pt x="1759" y="895"/>
                    <a:pt x="1762" y="894"/>
                    <a:pt x="1766" y="894"/>
                  </a:cubicBezTo>
                  <a:cubicBezTo>
                    <a:pt x="1768" y="894"/>
                    <a:pt x="1770" y="894"/>
                    <a:pt x="1772" y="894"/>
                  </a:cubicBezTo>
                  <a:cubicBezTo>
                    <a:pt x="1774" y="893"/>
                    <a:pt x="1777" y="893"/>
                    <a:pt x="1779" y="893"/>
                  </a:cubicBezTo>
                  <a:cubicBezTo>
                    <a:pt x="1789" y="892"/>
                    <a:pt x="1797" y="890"/>
                    <a:pt x="1805" y="886"/>
                  </a:cubicBezTo>
                  <a:cubicBezTo>
                    <a:pt x="1808" y="884"/>
                    <a:pt x="1811" y="881"/>
                    <a:pt x="1814" y="878"/>
                  </a:cubicBezTo>
                  <a:cubicBezTo>
                    <a:pt x="1816" y="874"/>
                    <a:pt x="1817" y="870"/>
                    <a:pt x="1818" y="866"/>
                  </a:cubicBezTo>
                  <a:cubicBezTo>
                    <a:pt x="1820" y="858"/>
                    <a:pt x="1819" y="850"/>
                    <a:pt x="1819" y="841"/>
                  </a:cubicBezTo>
                  <a:close/>
                  <a:moveTo>
                    <a:pt x="1809" y="865"/>
                  </a:moveTo>
                  <a:cubicBezTo>
                    <a:pt x="1808" y="868"/>
                    <a:pt x="1807" y="872"/>
                    <a:pt x="1804" y="874"/>
                  </a:cubicBezTo>
                  <a:cubicBezTo>
                    <a:pt x="1803" y="876"/>
                    <a:pt x="1801" y="877"/>
                    <a:pt x="1799" y="878"/>
                  </a:cubicBezTo>
                  <a:cubicBezTo>
                    <a:pt x="1798" y="879"/>
                    <a:pt x="1796" y="879"/>
                    <a:pt x="1794" y="880"/>
                  </a:cubicBezTo>
                  <a:cubicBezTo>
                    <a:pt x="1787" y="882"/>
                    <a:pt x="1779" y="883"/>
                    <a:pt x="1771" y="884"/>
                  </a:cubicBezTo>
                  <a:cubicBezTo>
                    <a:pt x="1767" y="884"/>
                    <a:pt x="1763" y="884"/>
                    <a:pt x="1760" y="884"/>
                  </a:cubicBezTo>
                  <a:cubicBezTo>
                    <a:pt x="1756" y="885"/>
                    <a:pt x="1753" y="885"/>
                    <a:pt x="1749" y="885"/>
                  </a:cubicBezTo>
                  <a:cubicBezTo>
                    <a:pt x="1742" y="885"/>
                    <a:pt x="1735" y="886"/>
                    <a:pt x="1727" y="886"/>
                  </a:cubicBezTo>
                  <a:cubicBezTo>
                    <a:pt x="1720" y="886"/>
                    <a:pt x="1712" y="886"/>
                    <a:pt x="1704" y="885"/>
                  </a:cubicBezTo>
                  <a:cubicBezTo>
                    <a:pt x="1689" y="883"/>
                    <a:pt x="1674" y="879"/>
                    <a:pt x="1660" y="873"/>
                  </a:cubicBezTo>
                  <a:cubicBezTo>
                    <a:pt x="1632" y="862"/>
                    <a:pt x="1606" y="845"/>
                    <a:pt x="1588" y="823"/>
                  </a:cubicBezTo>
                  <a:cubicBezTo>
                    <a:pt x="1577" y="810"/>
                    <a:pt x="1568" y="795"/>
                    <a:pt x="1563" y="778"/>
                  </a:cubicBezTo>
                  <a:cubicBezTo>
                    <a:pt x="1562" y="773"/>
                    <a:pt x="1561" y="769"/>
                    <a:pt x="1561" y="765"/>
                  </a:cubicBezTo>
                  <a:cubicBezTo>
                    <a:pt x="1560" y="762"/>
                    <a:pt x="1560" y="760"/>
                    <a:pt x="1560" y="758"/>
                  </a:cubicBezTo>
                  <a:cubicBezTo>
                    <a:pt x="1560" y="756"/>
                    <a:pt x="1560" y="753"/>
                    <a:pt x="1560" y="751"/>
                  </a:cubicBezTo>
                  <a:cubicBezTo>
                    <a:pt x="1560" y="743"/>
                    <a:pt x="1559" y="736"/>
                    <a:pt x="1559" y="728"/>
                  </a:cubicBezTo>
                  <a:cubicBezTo>
                    <a:pt x="1558" y="696"/>
                    <a:pt x="1557" y="663"/>
                    <a:pt x="1556" y="628"/>
                  </a:cubicBezTo>
                  <a:cubicBezTo>
                    <a:pt x="1556" y="620"/>
                    <a:pt x="1556" y="611"/>
                    <a:pt x="1556" y="602"/>
                  </a:cubicBezTo>
                  <a:cubicBezTo>
                    <a:pt x="1555" y="594"/>
                    <a:pt x="1554" y="586"/>
                    <a:pt x="1552" y="578"/>
                  </a:cubicBezTo>
                  <a:cubicBezTo>
                    <a:pt x="1547" y="563"/>
                    <a:pt x="1539" y="548"/>
                    <a:pt x="1526" y="535"/>
                  </a:cubicBezTo>
                  <a:cubicBezTo>
                    <a:pt x="1513" y="523"/>
                    <a:pt x="1497" y="513"/>
                    <a:pt x="1478" y="509"/>
                  </a:cubicBezTo>
                  <a:cubicBezTo>
                    <a:pt x="1473" y="508"/>
                    <a:pt x="1468" y="507"/>
                    <a:pt x="1464" y="507"/>
                  </a:cubicBezTo>
                  <a:cubicBezTo>
                    <a:pt x="1461" y="507"/>
                    <a:pt x="1459" y="507"/>
                    <a:pt x="1456" y="507"/>
                  </a:cubicBezTo>
                  <a:cubicBezTo>
                    <a:pt x="1453" y="507"/>
                    <a:pt x="1450" y="507"/>
                    <a:pt x="1448" y="507"/>
                  </a:cubicBezTo>
                  <a:cubicBezTo>
                    <a:pt x="1437" y="508"/>
                    <a:pt x="1425" y="510"/>
                    <a:pt x="1414" y="513"/>
                  </a:cubicBezTo>
                  <a:cubicBezTo>
                    <a:pt x="1390" y="519"/>
                    <a:pt x="1367" y="529"/>
                    <a:pt x="1344" y="544"/>
                  </a:cubicBezTo>
                  <a:cubicBezTo>
                    <a:pt x="1320" y="558"/>
                    <a:pt x="1298" y="577"/>
                    <a:pt x="1275" y="597"/>
                  </a:cubicBezTo>
                  <a:cubicBezTo>
                    <a:pt x="1251" y="619"/>
                    <a:pt x="1227" y="643"/>
                    <a:pt x="1200" y="668"/>
                  </a:cubicBezTo>
                  <a:cubicBezTo>
                    <a:pt x="1193" y="674"/>
                    <a:pt x="1186" y="680"/>
                    <a:pt x="1180" y="686"/>
                  </a:cubicBezTo>
                  <a:cubicBezTo>
                    <a:pt x="1173" y="692"/>
                    <a:pt x="1166" y="698"/>
                    <a:pt x="1159" y="705"/>
                  </a:cubicBezTo>
                  <a:cubicBezTo>
                    <a:pt x="1146" y="717"/>
                    <a:pt x="1132" y="730"/>
                    <a:pt x="1118" y="743"/>
                  </a:cubicBezTo>
                  <a:cubicBezTo>
                    <a:pt x="1103" y="756"/>
                    <a:pt x="1088" y="769"/>
                    <a:pt x="1072" y="782"/>
                  </a:cubicBezTo>
                  <a:cubicBezTo>
                    <a:pt x="1056" y="794"/>
                    <a:pt x="1039" y="807"/>
                    <a:pt x="1020" y="818"/>
                  </a:cubicBezTo>
                  <a:cubicBezTo>
                    <a:pt x="1001" y="828"/>
                    <a:pt x="980" y="838"/>
                    <a:pt x="956" y="843"/>
                  </a:cubicBezTo>
                  <a:cubicBezTo>
                    <a:pt x="933" y="848"/>
                    <a:pt x="907" y="848"/>
                    <a:pt x="883" y="843"/>
                  </a:cubicBezTo>
                  <a:cubicBezTo>
                    <a:pt x="859" y="839"/>
                    <a:pt x="836" y="829"/>
                    <a:pt x="816" y="818"/>
                  </a:cubicBezTo>
                  <a:cubicBezTo>
                    <a:pt x="796" y="806"/>
                    <a:pt x="777" y="793"/>
                    <a:pt x="759" y="779"/>
                  </a:cubicBezTo>
                  <a:cubicBezTo>
                    <a:pt x="724" y="751"/>
                    <a:pt x="692" y="720"/>
                    <a:pt x="658" y="691"/>
                  </a:cubicBezTo>
                  <a:cubicBezTo>
                    <a:pt x="650" y="683"/>
                    <a:pt x="642" y="676"/>
                    <a:pt x="633" y="669"/>
                  </a:cubicBezTo>
                  <a:cubicBezTo>
                    <a:pt x="625" y="661"/>
                    <a:pt x="616" y="653"/>
                    <a:pt x="608" y="645"/>
                  </a:cubicBezTo>
                  <a:cubicBezTo>
                    <a:pt x="592" y="630"/>
                    <a:pt x="575" y="615"/>
                    <a:pt x="559" y="600"/>
                  </a:cubicBezTo>
                  <a:cubicBezTo>
                    <a:pt x="525" y="571"/>
                    <a:pt x="490" y="545"/>
                    <a:pt x="452" y="530"/>
                  </a:cubicBezTo>
                  <a:cubicBezTo>
                    <a:pt x="433" y="522"/>
                    <a:pt x="414" y="518"/>
                    <a:pt x="394" y="516"/>
                  </a:cubicBezTo>
                  <a:cubicBezTo>
                    <a:pt x="391" y="516"/>
                    <a:pt x="389" y="516"/>
                    <a:pt x="386" y="516"/>
                  </a:cubicBezTo>
                  <a:cubicBezTo>
                    <a:pt x="384" y="516"/>
                    <a:pt x="381" y="516"/>
                    <a:pt x="379" y="516"/>
                  </a:cubicBezTo>
                  <a:cubicBezTo>
                    <a:pt x="375" y="516"/>
                    <a:pt x="370" y="516"/>
                    <a:pt x="366" y="517"/>
                  </a:cubicBezTo>
                  <a:cubicBezTo>
                    <a:pt x="358" y="519"/>
                    <a:pt x="350" y="522"/>
                    <a:pt x="342" y="526"/>
                  </a:cubicBezTo>
                  <a:cubicBezTo>
                    <a:pt x="327" y="534"/>
                    <a:pt x="313" y="547"/>
                    <a:pt x="305" y="563"/>
                  </a:cubicBezTo>
                  <a:cubicBezTo>
                    <a:pt x="301" y="570"/>
                    <a:pt x="298" y="579"/>
                    <a:pt x="296" y="587"/>
                  </a:cubicBezTo>
                  <a:cubicBezTo>
                    <a:pt x="296" y="592"/>
                    <a:pt x="295" y="596"/>
                    <a:pt x="295" y="600"/>
                  </a:cubicBezTo>
                  <a:cubicBezTo>
                    <a:pt x="295" y="602"/>
                    <a:pt x="295" y="603"/>
                    <a:pt x="295" y="604"/>
                  </a:cubicBezTo>
                  <a:cubicBezTo>
                    <a:pt x="295" y="608"/>
                    <a:pt x="295" y="608"/>
                    <a:pt x="295" y="608"/>
                  </a:cubicBezTo>
                  <a:cubicBezTo>
                    <a:pt x="295" y="617"/>
                    <a:pt x="295" y="617"/>
                    <a:pt x="295" y="617"/>
                  </a:cubicBezTo>
                  <a:cubicBezTo>
                    <a:pt x="295" y="664"/>
                    <a:pt x="295" y="711"/>
                    <a:pt x="295" y="759"/>
                  </a:cubicBezTo>
                  <a:cubicBezTo>
                    <a:pt x="295" y="782"/>
                    <a:pt x="295" y="806"/>
                    <a:pt x="295" y="829"/>
                  </a:cubicBezTo>
                  <a:cubicBezTo>
                    <a:pt x="295" y="839"/>
                    <a:pt x="295" y="839"/>
                    <a:pt x="295" y="839"/>
                  </a:cubicBezTo>
                  <a:cubicBezTo>
                    <a:pt x="294" y="854"/>
                    <a:pt x="294" y="854"/>
                    <a:pt x="294" y="854"/>
                  </a:cubicBezTo>
                  <a:cubicBezTo>
                    <a:pt x="294" y="857"/>
                    <a:pt x="294" y="859"/>
                    <a:pt x="294" y="862"/>
                  </a:cubicBezTo>
                  <a:cubicBezTo>
                    <a:pt x="294" y="864"/>
                    <a:pt x="294" y="867"/>
                    <a:pt x="293" y="869"/>
                  </a:cubicBezTo>
                  <a:cubicBezTo>
                    <a:pt x="292" y="874"/>
                    <a:pt x="290" y="878"/>
                    <a:pt x="288" y="882"/>
                  </a:cubicBezTo>
                  <a:cubicBezTo>
                    <a:pt x="286" y="886"/>
                    <a:pt x="283" y="890"/>
                    <a:pt x="279" y="893"/>
                  </a:cubicBezTo>
                  <a:cubicBezTo>
                    <a:pt x="275" y="896"/>
                    <a:pt x="271" y="899"/>
                    <a:pt x="267" y="901"/>
                  </a:cubicBezTo>
                  <a:cubicBezTo>
                    <a:pt x="258" y="904"/>
                    <a:pt x="248" y="905"/>
                    <a:pt x="237" y="906"/>
                  </a:cubicBezTo>
                  <a:cubicBezTo>
                    <a:pt x="235" y="907"/>
                    <a:pt x="232" y="907"/>
                    <a:pt x="230" y="907"/>
                  </a:cubicBezTo>
                  <a:cubicBezTo>
                    <a:pt x="225" y="907"/>
                    <a:pt x="225" y="907"/>
                    <a:pt x="225" y="907"/>
                  </a:cubicBezTo>
                  <a:cubicBezTo>
                    <a:pt x="215" y="907"/>
                    <a:pt x="215" y="907"/>
                    <a:pt x="215" y="907"/>
                  </a:cubicBezTo>
                  <a:cubicBezTo>
                    <a:pt x="209" y="908"/>
                    <a:pt x="203" y="908"/>
                    <a:pt x="197" y="908"/>
                  </a:cubicBezTo>
                  <a:cubicBezTo>
                    <a:pt x="188" y="908"/>
                    <a:pt x="188" y="908"/>
                    <a:pt x="188" y="908"/>
                  </a:cubicBezTo>
                  <a:cubicBezTo>
                    <a:pt x="179" y="908"/>
                    <a:pt x="179" y="908"/>
                    <a:pt x="179" y="908"/>
                  </a:cubicBezTo>
                  <a:cubicBezTo>
                    <a:pt x="171" y="907"/>
                    <a:pt x="164" y="907"/>
                    <a:pt x="157" y="906"/>
                  </a:cubicBezTo>
                  <a:cubicBezTo>
                    <a:pt x="130" y="901"/>
                    <a:pt x="104" y="891"/>
                    <a:pt x="81" y="877"/>
                  </a:cubicBezTo>
                  <a:cubicBezTo>
                    <a:pt x="58" y="862"/>
                    <a:pt x="37" y="843"/>
                    <a:pt x="22" y="818"/>
                  </a:cubicBezTo>
                  <a:cubicBezTo>
                    <a:pt x="15" y="805"/>
                    <a:pt x="9" y="791"/>
                    <a:pt x="7" y="776"/>
                  </a:cubicBezTo>
                  <a:cubicBezTo>
                    <a:pt x="5" y="769"/>
                    <a:pt x="4" y="761"/>
                    <a:pt x="4" y="753"/>
                  </a:cubicBezTo>
                  <a:cubicBezTo>
                    <a:pt x="4" y="747"/>
                    <a:pt x="4" y="742"/>
                    <a:pt x="4" y="736"/>
                  </a:cubicBezTo>
                  <a:cubicBezTo>
                    <a:pt x="5" y="644"/>
                    <a:pt x="5" y="554"/>
                    <a:pt x="5" y="467"/>
                  </a:cubicBezTo>
                  <a:cubicBezTo>
                    <a:pt x="6" y="378"/>
                    <a:pt x="6" y="292"/>
                    <a:pt x="7" y="206"/>
                  </a:cubicBezTo>
                  <a:cubicBezTo>
                    <a:pt x="7" y="151"/>
                    <a:pt x="8" y="66"/>
                    <a:pt x="8" y="44"/>
                  </a:cubicBezTo>
                  <a:cubicBezTo>
                    <a:pt x="8" y="22"/>
                    <a:pt x="17" y="4"/>
                    <a:pt x="48" y="4"/>
                  </a:cubicBezTo>
                  <a:cubicBezTo>
                    <a:pt x="52" y="4"/>
                    <a:pt x="58" y="4"/>
                    <a:pt x="64" y="4"/>
                  </a:cubicBezTo>
                  <a:cubicBezTo>
                    <a:pt x="94" y="4"/>
                    <a:pt x="133" y="5"/>
                    <a:pt x="166" y="5"/>
                  </a:cubicBezTo>
                  <a:cubicBezTo>
                    <a:pt x="184" y="5"/>
                    <a:pt x="202" y="5"/>
                    <a:pt x="220" y="5"/>
                  </a:cubicBezTo>
                  <a:cubicBezTo>
                    <a:pt x="240" y="6"/>
                    <a:pt x="259" y="9"/>
                    <a:pt x="278" y="15"/>
                  </a:cubicBezTo>
                  <a:cubicBezTo>
                    <a:pt x="317" y="25"/>
                    <a:pt x="352" y="46"/>
                    <a:pt x="381" y="73"/>
                  </a:cubicBezTo>
                  <a:cubicBezTo>
                    <a:pt x="407" y="98"/>
                    <a:pt x="434" y="123"/>
                    <a:pt x="460" y="148"/>
                  </a:cubicBezTo>
                  <a:cubicBezTo>
                    <a:pt x="497" y="183"/>
                    <a:pt x="537" y="222"/>
                    <a:pt x="578" y="260"/>
                  </a:cubicBezTo>
                  <a:cubicBezTo>
                    <a:pt x="597" y="279"/>
                    <a:pt x="617" y="296"/>
                    <a:pt x="639" y="311"/>
                  </a:cubicBezTo>
                  <a:cubicBezTo>
                    <a:pt x="660" y="326"/>
                    <a:pt x="682" y="339"/>
                    <a:pt x="704" y="350"/>
                  </a:cubicBezTo>
                  <a:cubicBezTo>
                    <a:pt x="748" y="371"/>
                    <a:pt x="792" y="383"/>
                    <a:pt x="826" y="390"/>
                  </a:cubicBezTo>
                  <a:cubicBezTo>
                    <a:pt x="861" y="397"/>
                    <a:pt x="887" y="398"/>
                    <a:pt x="900" y="400"/>
                  </a:cubicBezTo>
                  <a:cubicBezTo>
                    <a:pt x="980" y="404"/>
                    <a:pt x="1049" y="390"/>
                    <a:pt x="1105" y="370"/>
                  </a:cubicBezTo>
                  <a:cubicBezTo>
                    <a:pt x="1161" y="350"/>
                    <a:pt x="1204" y="323"/>
                    <a:pt x="1237" y="297"/>
                  </a:cubicBezTo>
                  <a:cubicBezTo>
                    <a:pt x="1245" y="291"/>
                    <a:pt x="1253" y="285"/>
                    <a:pt x="1260" y="278"/>
                  </a:cubicBezTo>
                  <a:cubicBezTo>
                    <a:pt x="1267" y="272"/>
                    <a:pt x="1274" y="266"/>
                    <a:pt x="1281" y="260"/>
                  </a:cubicBezTo>
                  <a:cubicBezTo>
                    <a:pt x="1294" y="249"/>
                    <a:pt x="1305" y="239"/>
                    <a:pt x="1316" y="230"/>
                  </a:cubicBezTo>
                  <a:cubicBezTo>
                    <a:pt x="1336" y="213"/>
                    <a:pt x="1352" y="200"/>
                    <a:pt x="1364" y="191"/>
                  </a:cubicBezTo>
                  <a:cubicBezTo>
                    <a:pt x="1373" y="184"/>
                    <a:pt x="1378" y="180"/>
                    <a:pt x="1383" y="178"/>
                  </a:cubicBezTo>
                  <a:cubicBezTo>
                    <a:pt x="1387" y="175"/>
                    <a:pt x="1387" y="177"/>
                    <a:pt x="1384" y="181"/>
                  </a:cubicBezTo>
                  <a:cubicBezTo>
                    <a:pt x="1382" y="184"/>
                    <a:pt x="1377" y="191"/>
                    <a:pt x="1368" y="200"/>
                  </a:cubicBezTo>
                  <a:cubicBezTo>
                    <a:pt x="1367" y="201"/>
                    <a:pt x="1366" y="202"/>
                    <a:pt x="1365" y="204"/>
                  </a:cubicBezTo>
                  <a:cubicBezTo>
                    <a:pt x="1355" y="214"/>
                    <a:pt x="1342" y="228"/>
                    <a:pt x="1326" y="245"/>
                  </a:cubicBezTo>
                  <a:cubicBezTo>
                    <a:pt x="1319" y="252"/>
                    <a:pt x="1309" y="262"/>
                    <a:pt x="1296" y="276"/>
                  </a:cubicBezTo>
                  <a:cubicBezTo>
                    <a:pt x="1289" y="283"/>
                    <a:pt x="1281" y="291"/>
                    <a:pt x="1273" y="299"/>
                  </a:cubicBezTo>
                  <a:cubicBezTo>
                    <a:pt x="1264" y="308"/>
                    <a:pt x="1254" y="317"/>
                    <a:pt x="1243" y="326"/>
                  </a:cubicBezTo>
                  <a:cubicBezTo>
                    <a:pt x="1221" y="344"/>
                    <a:pt x="1194" y="363"/>
                    <a:pt x="1161" y="381"/>
                  </a:cubicBezTo>
                  <a:cubicBezTo>
                    <a:pt x="1128" y="398"/>
                    <a:pt x="1090" y="413"/>
                    <a:pt x="1048" y="423"/>
                  </a:cubicBezTo>
                  <a:cubicBezTo>
                    <a:pt x="1009" y="433"/>
                    <a:pt x="967" y="439"/>
                    <a:pt x="925" y="440"/>
                  </a:cubicBezTo>
                  <a:cubicBezTo>
                    <a:pt x="882" y="441"/>
                    <a:pt x="838" y="437"/>
                    <a:pt x="793" y="427"/>
                  </a:cubicBezTo>
                  <a:cubicBezTo>
                    <a:pt x="741" y="416"/>
                    <a:pt x="685" y="395"/>
                    <a:pt x="631" y="362"/>
                  </a:cubicBezTo>
                  <a:cubicBezTo>
                    <a:pt x="604" y="345"/>
                    <a:pt x="577" y="325"/>
                    <a:pt x="553" y="302"/>
                  </a:cubicBezTo>
                  <a:cubicBezTo>
                    <a:pt x="550" y="299"/>
                    <a:pt x="547" y="296"/>
                    <a:pt x="544" y="293"/>
                  </a:cubicBezTo>
                  <a:cubicBezTo>
                    <a:pt x="541" y="291"/>
                    <a:pt x="538" y="288"/>
                    <a:pt x="535" y="286"/>
                  </a:cubicBezTo>
                  <a:cubicBezTo>
                    <a:pt x="529" y="280"/>
                    <a:pt x="523" y="275"/>
                    <a:pt x="517" y="269"/>
                  </a:cubicBezTo>
                  <a:cubicBezTo>
                    <a:pt x="505" y="258"/>
                    <a:pt x="493" y="247"/>
                    <a:pt x="481" y="235"/>
                  </a:cubicBezTo>
                  <a:cubicBezTo>
                    <a:pt x="456" y="213"/>
                    <a:pt x="431" y="189"/>
                    <a:pt x="406" y="166"/>
                  </a:cubicBezTo>
                  <a:cubicBezTo>
                    <a:pt x="393" y="154"/>
                    <a:pt x="381" y="142"/>
                    <a:pt x="368" y="130"/>
                  </a:cubicBezTo>
                  <a:cubicBezTo>
                    <a:pt x="361" y="125"/>
                    <a:pt x="355" y="119"/>
                    <a:pt x="348" y="113"/>
                  </a:cubicBezTo>
                  <a:cubicBezTo>
                    <a:pt x="345" y="109"/>
                    <a:pt x="343" y="107"/>
                    <a:pt x="340" y="105"/>
                  </a:cubicBezTo>
                  <a:cubicBezTo>
                    <a:pt x="337" y="102"/>
                    <a:pt x="334" y="100"/>
                    <a:pt x="330" y="97"/>
                  </a:cubicBezTo>
                  <a:cubicBezTo>
                    <a:pt x="306" y="79"/>
                    <a:pt x="276" y="66"/>
                    <a:pt x="246" y="61"/>
                  </a:cubicBezTo>
                  <a:cubicBezTo>
                    <a:pt x="238" y="60"/>
                    <a:pt x="230" y="59"/>
                    <a:pt x="222" y="58"/>
                  </a:cubicBezTo>
                  <a:cubicBezTo>
                    <a:pt x="217" y="58"/>
                    <a:pt x="217" y="58"/>
                    <a:pt x="217" y="58"/>
                  </a:cubicBezTo>
                  <a:cubicBezTo>
                    <a:pt x="210" y="58"/>
                    <a:pt x="210" y="58"/>
                    <a:pt x="210" y="58"/>
                  </a:cubicBezTo>
                  <a:cubicBezTo>
                    <a:pt x="197" y="58"/>
                    <a:pt x="197" y="58"/>
                    <a:pt x="197" y="58"/>
                  </a:cubicBezTo>
                  <a:cubicBezTo>
                    <a:pt x="179" y="58"/>
                    <a:pt x="161" y="58"/>
                    <a:pt x="143" y="58"/>
                  </a:cubicBezTo>
                  <a:cubicBezTo>
                    <a:pt x="119" y="58"/>
                    <a:pt x="82" y="58"/>
                    <a:pt x="70" y="58"/>
                  </a:cubicBezTo>
                  <a:cubicBezTo>
                    <a:pt x="64" y="58"/>
                    <a:pt x="63" y="60"/>
                    <a:pt x="63" y="68"/>
                  </a:cubicBezTo>
                  <a:cubicBezTo>
                    <a:pt x="63" y="93"/>
                    <a:pt x="63" y="462"/>
                    <a:pt x="63" y="652"/>
                  </a:cubicBezTo>
                  <a:cubicBezTo>
                    <a:pt x="63" y="677"/>
                    <a:pt x="63" y="702"/>
                    <a:pt x="63" y="727"/>
                  </a:cubicBezTo>
                  <a:cubicBezTo>
                    <a:pt x="63" y="745"/>
                    <a:pt x="63" y="745"/>
                    <a:pt x="63" y="745"/>
                  </a:cubicBezTo>
                  <a:cubicBezTo>
                    <a:pt x="63" y="754"/>
                    <a:pt x="63" y="754"/>
                    <a:pt x="63" y="754"/>
                  </a:cubicBezTo>
                  <a:cubicBezTo>
                    <a:pt x="63" y="756"/>
                    <a:pt x="63" y="758"/>
                    <a:pt x="64" y="760"/>
                  </a:cubicBezTo>
                  <a:cubicBezTo>
                    <a:pt x="65" y="769"/>
                    <a:pt x="68" y="777"/>
                    <a:pt x="72" y="785"/>
                  </a:cubicBezTo>
                  <a:cubicBezTo>
                    <a:pt x="81" y="802"/>
                    <a:pt x="96" y="816"/>
                    <a:pt x="113" y="827"/>
                  </a:cubicBezTo>
                  <a:cubicBezTo>
                    <a:pt x="131" y="838"/>
                    <a:pt x="151" y="845"/>
                    <a:pt x="171" y="848"/>
                  </a:cubicBezTo>
                  <a:cubicBezTo>
                    <a:pt x="173" y="848"/>
                    <a:pt x="176" y="848"/>
                    <a:pt x="178" y="848"/>
                  </a:cubicBezTo>
                  <a:cubicBezTo>
                    <a:pt x="179" y="848"/>
                    <a:pt x="181" y="848"/>
                    <a:pt x="182" y="848"/>
                  </a:cubicBezTo>
                  <a:cubicBezTo>
                    <a:pt x="186" y="848"/>
                    <a:pt x="186" y="848"/>
                    <a:pt x="186" y="848"/>
                  </a:cubicBezTo>
                  <a:cubicBezTo>
                    <a:pt x="204" y="848"/>
                    <a:pt x="204" y="848"/>
                    <a:pt x="204" y="848"/>
                  </a:cubicBezTo>
                  <a:cubicBezTo>
                    <a:pt x="210" y="848"/>
                    <a:pt x="216" y="848"/>
                    <a:pt x="222" y="848"/>
                  </a:cubicBezTo>
                  <a:cubicBezTo>
                    <a:pt x="227" y="847"/>
                    <a:pt x="227" y="847"/>
                    <a:pt x="227" y="847"/>
                  </a:cubicBezTo>
                  <a:cubicBezTo>
                    <a:pt x="230" y="847"/>
                    <a:pt x="230" y="847"/>
                    <a:pt x="230" y="847"/>
                  </a:cubicBezTo>
                  <a:cubicBezTo>
                    <a:pt x="231" y="847"/>
                    <a:pt x="233" y="847"/>
                    <a:pt x="234" y="846"/>
                  </a:cubicBezTo>
                  <a:cubicBezTo>
                    <a:pt x="235" y="845"/>
                    <a:pt x="235" y="843"/>
                    <a:pt x="235" y="842"/>
                  </a:cubicBezTo>
                  <a:cubicBezTo>
                    <a:pt x="235" y="833"/>
                    <a:pt x="235" y="825"/>
                    <a:pt x="235" y="816"/>
                  </a:cubicBezTo>
                  <a:cubicBezTo>
                    <a:pt x="235" y="767"/>
                    <a:pt x="235" y="718"/>
                    <a:pt x="235" y="668"/>
                  </a:cubicBezTo>
                  <a:cubicBezTo>
                    <a:pt x="235" y="649"/>
                    <a:pt x="235" y="630"/>
                    <a:pt x="235" y="610"/>
                  </a:cubicBezTo>
                  <a:cubicBezTo>
                    <a:pt x="235" y="603"/>
                    <a:pt x="235" y="603"/>
                    <a:pt x="235" y="603"/>
                  </a:cubicBezTo>
                  <a:cubicBezTo>
                    <a:pt x="235" y="600"/>
                    <a:pt x="235" y="596"/>
                    <a:pt x="235" y="593"/>
                  </a:cubicBezTo>
                  <a:cubicBezTo>
                    <a:pt x="236" y="587"/>
                    <a:pt x="236" y="581"/>
                    <a:pt x="238" y="575"/>
                  </a:cubicBezTo>
                  <a:cubicBezTo>
                    <a:pt x="240" y="563"/>
                    <a:pt x="244" y="551"/>
                    <a:pt x="249" y="540"/>
                  </a:cubicBezTo>
                  <a:cubicBezTo>
                    <a:pt x="260" y="518"/>
                    <a:pt x="276" y="499"/>
                    <a:pt x="296" y="484"/>
                  </a:cubicBezTo>
                  <a:cubicBezTo>
                    <a:pt x="316" y="470"/>
                    <a:pt x="339" y="460"/>
                    <a:pt x="364" y="457"/>
                  </a:cubicBezTo>
                  <a:cubicBezTo>
                    <a:pt x="370" y="456"/>
                    <a:pt x="377" y="456"/>
                    <a:pt x="383" y="456"/>
                  </a:cubicBezTo>
                  <a:cubicBezTo>
                    <a:pt x="388" y="456"/>
                    <a:pt x="394" y="456"/>
                    <a:pt x="400" y="457"/>
                  </a:cubicBezTo>
                  <a:cubicBezTo>
                    <a:pt x="411" y="457"/>
                    <a:pt x="422" y="459"/>
                    <a:pt x="433" y="462"/>
                  </a:cubicBezTo>
                  <a:cubicBezTo>
                    <a:pt x="455" y="466"/>
                    <a:pt x="476" y="474"/>
                    <a:pt x="496" y="484"/>
                  </a:cubicBezTo>
                  <a:cubicBezTo>
                    <a:pt x="535" y="504"/>
                    <a:pt x="569" y="530"/>
                    <a:pt x="599" y="557"/>
                  </a:cubicBezTo>
                  <a:cubicBezTo>
                    <a:pt x="615" y="571"/>
                    <a:pt x="629" y="585"/>
                    <a:pt x="644" y="598"/>
                  </a:cubicBezTo>
                  <a:cubicBezTo>
                    <a:pt x="665" y="619"/>
                    <a:pt x="665" y="619"/>
                    <a:pt x="665" y="619"/>
                  </a:cubicBezTo>
                  <a:cubicBezTo>
                    <a:pt x="676" y="628"/>
                    <a:pt x="676" y="628"/>
                    <a:pt x="676" y="628"/>
                  </a:cubicBezTo>
                  <a:cubicBezTo>
                    <a:pt x="687" y="638"/>
                    <a:pt x="687" y="638"/>
                    <a:pt x="687" y="638"/>
                  </a:cubicBezTo>
                  <a:cubicBezTo>
                    <a:pt x="717" y="665"/>
                    <a:pt x="746" y="692"/>
                    <a:pt x="775" y="718"/>
                  </a:cubicBezTo>
                  <a:cubicBezTo>
                    <a:pt x="790" y="730"/>
                    <a:pt x="804" y="742"/>
                    <a:pt x="819" y="753"/>
                  </a:cubicBezTo>
                  <a:cubicBezTo>
                    <a:pt x="834" y="763"/>
                    <a:pt x="849" y="772"/>
                    <a:pt x="865" y="779"/>
                  </a:cubicBezTo>
                  <a:cubicBezTo>
                    <a:pt x="881" y="786"/>
                    <a:pt x="896" y="790"/>
                    <a:pt x="912" y="791"/>
                  </a:cubicBezTo>
                  <a:cubicBezTo>
                    <a:pt x="928" y="792"/>
                    <a:pt x="944" y="790"/>
                    <a:pt x="959" y="785"/>
                  </a:cubicBezTo>
                  <a:cubicBezTo>
                    <a:pt x="979" y="779"/>
                    <a:pt x="997" y="768"/>
                    <a:pt x="1015" y="756"/>
                  </a:cubicBezTo>
                  <a:cubicBezTo>
                    <a:pt x="1033" y="744"/>
                    <a:pt x="1051" y="730"/>
                    <a:pt x="1067" y="716"/>
                  </a:cubicBezTo>
                  <a:cubicBezTo>
                    <a:pt x="1084" y="702"/>
                    <a:pt x="1101" y="687"/>
                    <a:pt x="1117" y="673"/>
                  </a:cubicBezTo>
                  <a:cubicBezTo>
                    <a:pt x="1125" y="665"/>
                    <a:pt x="1133" y="658"/>
                    <a:pt x="1141" y="651"/>
                  </a:cubicBezTo>
                  <a:cubicBezTo>
                    <a:pt x="1149" y="644"/>
                    <a:pt x="1157" y="637"/>
                    <a:pt x="1165" y="630"/>
                  </a:cubicBezTo>
                  <a:cubicBezTo>
                    <a:pt x="1196" y="603"/>
                    <a:pt x="1226" y="574"/>
                    <a:pt x="1257" y="548"/>
                  </a:cubicBezTo>
                  <a:cubicBezTo>
                    <a:pt x="1289" y="522"/>
                    <a:pt x="1323" y="499"/>
                    <a:pt x="1360" y="483"/>
                  </a:cubicBezTo>
                  <a:cubicBezTo>
                    <a:pt x="1384" y="473"/>
                    <a:pt x="1410" y="466"/>
                    <a:pt x="1437" y="464"/>
                  </a:cubicBezTo>
                  <a:cubicBezTo>
                    <a:pt x="1443" y="464"/>
                    <a:pt x="1450" y="464"/>
                    <a:pt x="1456" y="464"/>
                  </a:cubicBezTo>
                  <a:cubicBezTo>
                    <a:pt x="1464" y="464"/>
                    <a:pt x="1471" y="465"/>
                    <a:pt x="1478" y="466"/>
                  </a:cubicBezTo>
                  <a:cubicBezTo>
                    <a:pt x="1491" y="468"/>
                    <a:pt x="1505" y="472"/>
                    <a:pt x="1517" y="479"/>
                  </a:cubicBezTo>
                  <a:cubicBezTo>
                    <a:pt x="1541" y="491"/>
                    <a:pt x="1561" y="511"/>
                    <a:pt x="1574" y="534"/>
                  </a:cubicBezTo>
                  <a:cubicBezTo>
                    <a:pt x="1581" y="545"/>
                    <a:pt x="1586" y="557"/>
                    <a:pt x="1589" y="569"/>
                  </a:cubicBezTo>
                  <a:cubicBezTo>
                    <a:pt x="1590" y="576"/>
                    <a:pt x="1591" y="582"/>
                    <a:pt x="1592" y="588"/>
                  </a:cubicBezTo>
                  <a:cubicBezTo>
                    <a:pt x="1592" y="591"/>
                    <a:pt x="1593" y="594"/>
                    <a:pt x="1593" y="597"/>
                  </a:cubicBezTo>
                  <a:cubicBezTo>
                    <a:pt x="1593" y="600"/>
                    <a:pt x="1593" y="604"/>
                    <a:pt x="1593" y="606"/>
                  </a:cubicBezTo>
                  <a:cubicBezTo>
                    <a:pt x="1592" y="648"/>
                    <a:pt x="1592" y="688"/>
                    <a:pt x="1591" y="726"/>
                  </a:cubicBezTo>
                  <a:cubicBezTo>
                    <a:pt x="1591" y="736"/>
                    <a:pt x="1591" y="745"/>
                    <a:pt x="1591" y="754"/>
                  </a:cubicBezTo>
                  <a:cubicBezTo>
                    <a:pt x="1591" y="762"/>
                    <a:pt x="1592" y="770"/>
                    <a:pt x="1594" y="777"/>
                  </a:cubicBezTo>
                  <a:cubicBezTo>
                    <a:pt x="1599" y="791"/>
                    <a:pt x="1608" y="805"/>
                    <a:pt x="1618" y="816"/>
                  </a:cubicBezTo>
                  <a:cubicBezTo>
                    <a:pt x="1634" y="832"/>
                    <a:pt x="1653" y="844"/>
                    <a:pt x="1671" y="852"/>
                  </a:cubicBezTo>
                  <a:cubicBezTo>
                    <a:pt x="1681" y="856"/>
                    <a:pt x="1690" y="859"/>
                    <a:pt x="1700" y="861"/>
                  </a:cubicBezTo>
                  <a:cubicBezTo>
                    <a:pt x="1705" y="862"/>
                    <a:pt x="1709" y="863"/>
                    <a:pt x="1714" y="864"/>
                  </a:cubicBezTo>
                  <a:cubicBezTo>
                    <a:pt x="1716" y="864"/>
                    <a:pt x="1719" y="864"/>
                    <a:pt x="1721" y="864"/>
                  </a:cubicBezTo>
                  <a:cubicBezTo>
                    <a:pt x="1723" y="865"/>
                    <a:pt x="1725" y="865"/>
                    <a:pt x="1728" y="865"/>
                  </a:cubicBezTo>
                  <a:cubicBezTo>
                    <a:pt x="1734" y="865"/>
                    <a:pt x="1740" y="865"/>
                    <a:pt x="1745" y="865"/>
                  </a:cubicBezTo>
                  <a:cubicBezTo>
                    <a:pt x="1752" y="865"/>
                    <a:pt x="1759" y="865"/>
                    <a:pt x="1765" y="865"/>
                  </a:cubicBezTo>
                  <a:cubicBezTo>
                    <a:pt x="1768" y="865"/>
                    <a:pt x="1770" y="865"/>
                    <a:pt x="1772" y="865"/>
                  </a:cubicBezTo>
                  <a:cubicBezTo>
                    <a:pt x="1775" y="864"/>
                    <a:pt x="1777" y="864"/>
                    <a:pt x="1779" y="864"/>
                  </a:cubicBezTo>
                  <a:cubicBezTo>
                    <a:pt x="1782" y="864"/>
                    <a:pt x="1784" y="864"/>
                    <a:pt x="1786" y="863"/>
                  </a:cubicBezTo>
                  <a:cubicBezTo>
                    <a:pt x="1788" y="863"/>
                    <a:pt x="1790" y="861"/>
                    <a:pt x="1791" y="859"/>
                  </a:cubicBezTo>
                  <a:cubicBezTo>
                    <a:pt x="1794" y="856"/>
                    <a:pt x="1794" y="851"/>
                    <a:pt x="1794" y="847"/>
                  </a:cubicBezTo>
                  <a:cubicBezTo>
                    <a:pt x="1794" y="845"/>
                    <a:pt x="1794" y="843"/>
                    <a:pt x="1794" y="841"/>
                  </a:cubicBezTo>
                  <a:cubicBezTo>
                    <a:pt x="1794" y="840"/>
                    <a:pt x="1795" y="839"/>
                    <a:pt x="1795" y="838"/>
                  </a:cubicBezTo>
                  <a:cubicBezTo>
                    <a:pt x="1795" y="837"/>
                    <a:pt x="1795" y="836"/>
                    <a:pt x="1795" y="835"/>
                  </a:cubicBezTo>
                  <a:cubicBezTo>
                    <a:pt x="1795" y="832"/>
                    <a:pt x="1795" y="830"/>
                    <a:pt x="1795" y="827"/>
                  </a:cubicBezTo>
                  <a:cubicBezTo>
                    <a:pt x="1796" y="822"/>
                    <a:pt x="1796" y="817"/>
                    <a:pt x="1796" y="811"/>
                  </a:cubicBezTo>
                  <a:cubicBezTo>
                    <a:pt x="1797" y="801"/>
                    <a:pt x="1797" y="790"/>
                    <a:pt x="1798" y="780"/>
                  </a:cubicBezTo>
                  <a:cubicBezTo>
                    <a:pt x="1799" y="761"/>
                    <a:pt x="1800" y="744"/>
                    <a:pt x="1801" y="739"/>
                  </a:cubicBezTo>
                  <a:cubicBezTo>
                    <a:pt x="1802" y="735"/>
                    <a:pt x="1803" y="738"/>
                    <a:pt x="1803" y="732"/>
                  </a:cubicBezTo>
                  <a:cubicBezTo>
                    <a:pt x="1805" y="723"/>
                    <a:pt x="1806" y="740"/>
                    <a:pt x="1808" y="778"/>
                  </a:cubicBezTo>
                  <a:cubicBezTo>
                    <a:pt x="1808" y="787"/>
                    <a:pt x="1809" y="797"/>
                    <a:pt x="1809" y="808"/>
                  </a:cubicBezTo>
                  <a:cubicBezTo>
                    <a:pt x="1809" y="813"/>
                    <a:pt x="1809" y="819"/>
                    <a:pt x="1809" y="824"/>
                  </a:cubicBezTo>
                  <a:cubicBezTo>
                    <a:pt x="1809" y="827"/>
                    <a:pt x="1810" y="830"/>
                    <a:pt x="1810" y="833"/>
                  </a:cubicBezTo>
                  <a:cubicBezTo>
                    <a:pt x="1810" y="836"/>
                    <a:pt x="1810" y="840"/>
                    <a:pt x="1810" y="843"/>
                  </a:cubicBezTo>
                  <a:cubicBezTo>
                    <a:pt x="1810" y="850"/>
                    <a:pt x="1811" y="858"/>
                    <a:pt x="1809" y="86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 name="Freeform 19">
              <a:extLst>
                <a:ext uri="{FF2B5EF4-FFF2-40B4-BE49-F238E27FC236}">
                  <a16:creationId xmlns:a16="http://schemas.microsoft.com/office/drawing/2014/main" id="{1C1B015F-6DD0-4C1B-AABA-EB3A422626A1}"/>
                </a:ext>
              </a:extLst>
            </p:cNvPr>
            <p:cNvSpPr>
              <a:spLocks noEditPoints="1"/>
            </p:cNvSpPr>
            <p:nvPr>
              <p:custDataLst>
                <p:tags r:id="rId4"/>
              </p:custDataLst>
            </p:nvPr>
          </p:nvSpPr>
          <p:spPr bwMode="gray">
            <a:xfrm>
              <a:off x="2679701" y="1730376"/>
              <a:ext cx="6788150" cy="3400425"/>
            </a:xfrm>
            <a:custGeom>
              <a:avLst/>
              <a:gdLst>
                <a:gd name="T0" fmla="*/ 1791 w 1807"/>
                <a:gd name="T1" fmla="*/ 831 h 904"/>
                <a:gd name="T2" fmla="*/ 1724 w 1807"/>
                <a:gd name="T3" fmla="*/ 861 h 904"/>
                <a:gd name="T4" fmla="*/ 1589 w 1807"/>
                <a:gd name="T5" fmla="*/ 593 h 904"/>
                <a:gd name="T6" fmla="*/ 1161 w 1807"/>
                <a:gd name="T7" fmla="*/ 626 h 904"/>
                <a:gd name="T8" fmla="*/ 683 w 1807"/>
                <a:gd name="T9" fmla="*/ 634 h 904"/>
                <a:gd name="T10" fmla="*/ 292 w 1807"/>
                <a:gd name="T11" fmla="*/ 480 h 904"/>
                <a:gd name="T12" fmla="*/ 226 w 1807"/>
                <a:gd name="T13" fmla="*/ 843 h 904"/>
                <a:gd name="T14" fmla="*/ 60 w 1807"/>
                <a:gd name="T15" fmla="*/ 756 h 904"/>
                <a:gd name="T16" fmla="*/ 213 w 1807"/>
                <a:gd name="T17" fmla="*/ 54 h 904"/>
                <a:gd name="T18" fmla="*/ 531 w 1807"/>
                <a:gd name="T19" fmla="*/ 282 h 904"/>
                <a:gd name="T20" fmla="*/ 1292 w 1807"/>
                <a:gd name="T21" fmla="*/ 272 h 904"/>
                <a:gd name="T22" fmla="*/ 1233 w 1807"/>
                <a:gd name="T23" fmla="*/ 293 h 904"/>
                <a:gd name="T24" fmla="*/ 216 w 1807"/>
                <a:gd name="T25" fmla="*/ 1 h 904"/>
                <a:gd name="T26" fmla="*/ 77 w 1807"/>
                <a:gd name="T27" fmla="*/ 873 h 904"/>
                <a:gd name="T28" fmla="*/ 275 w 1807"/>
                <a:gd name="T29" fmla="*/ 889 h 904"/>
                <a:gd name="T30" fmla="*/ 291 w 1807"/>
                <a:gd name="T31" fmla="*/ 600 h 904"/>
                <a:gd name="T32" fmla="*/ 555 w 1807"/>
                <a:gd name="T33" fmla="*/ 596 h 904"/>
                <a:gd name="T34" fmla="*/ 1114 w 1807"/>
                <a:gd name="T35" fmla="*/ 739 h 904"/>
                <a:gd name="T36" fmla="*/ 1474 w 1807"/>
                <a:gd name="T37" fmla="*/ 505 h 904"/>
                <a:gd name="T38" fmla="*/ 1584 w 1807"/>
                <a:gd name="T39" fmla="*/ 819 h 904"/>
                <a:gd name="T40" fmla="*/ 1805 w 1807"/>
                <a:gd name="T41" fmla="*/ 861 h 904"/>
                <a:gd name="T42" fmla="*/ 1565 w 1807"/>
                <a:gd name="T43" fmla="*/ 743 h 904"/>
                <a:gd name="T44" fmla="*/ 1448 w 1807"/>
                <a:gd name="T45" fmla="*/ 494 h 904"/>
                <a:gd name="T46" fmla="*/ 910 w 1807"/>
                <a:gd name="T47" fmla="*/ 836 h 904"/>
                <a:gd name="T48" fmla="*/ 411 w 1807"/>
                <a:gd name="T49" fmla="*/ 510 h 904"/>
                <a:gd name="T50" fmla="*/ 286 w 1807"/>
                <a:gd name="T51" fmla="*/ 648 h 904"/>
                <a:gd name="T52" fmla="*/ 271 w 1807"/>
                <a:gd name="T53" fmla="*/ 887 h 904"/>
                <a:gd name="T54" fmla="*/ 29 w 1807"/>
                <a:gd name="T55" fmla="*/ 822 h 904"/>
                <a:gd name="T56" fmla="*/ 46 w 1807"/>
                <a:gd name="T57" fmla="*/ 4 h 904"/>
                <a:gd name="T58" fmla="*/ 380 w 1807"/>
                <a:gd name="T59" fmla="*/ 78 h 904"/>
                <a:gd name="T60" fmla="*/ 741 w 1807"/>
                <a:gd name="T61" fmla="*/ 370 h 904"/>
                <a:gd name="T62" fmla="*/ 875 w 1807"/>
                <a:gd name="T63" fmla="*/ 430 h 904"/>
                <a:gd name="T64" fmla="*/ 375 w 1807"/>
                <a:gd name="T65" fmla="*/ 127 h 904"/>
                <a:gd name="T66" fmla="*/ 52 w 1807"/>
                <a:gd name="T67" fmla="*/ 60 h 904"/>
                <a:gd name="T68" fmla="*/ 175 w 1807"/>
                <a:gd name="T69" fmla="*/ 849 h 904"/>
                <a:gd name="T70" fmla="*/ 235 w 1807"/>
                <a:gd name="T71" fmla="*/ 837 h 904"/>
                <a:gd name="T72" fmla="*/ 412 w 1807"/>
                <a:gd name="T73" fmla="*/ 457 h 904"/>
                <a:gd name="T74" fmla="*/ 914 w 1807"/>
                <a:gd name="T75" fmla="*/ 790 h 904"/>
                <a:gd name="T76" fmla="*/ 1387 w 1807"/>
                <a:gd name="T77" fmla="*/ 472 h 904"/>
                <a:gd name="T78" fmla="*/ 1606 w 1807"/>
                <a:gd name="T79" fmla="*/ 809 h 904"/>
                <a:gd name="T80" fmla="*/ 107 w 1807"/>
                <a:gd name="T81" fmla="*/ 862 h 904"/>
                <a:gd name="T82" fmla="*/ 22 w 1807"/>
                <a:gd name="T83" fmla="*/ 48 h 904"/>
                <a:gd name="T84" fmla="*/ 397 w 1807"/>
                <a:gd name="T85" fmla="*/ 113 h 904"/>
                <a:gd name="T86" fmla="*/ 192 w 1807"/>
                <a:gd name="T87" fmla="*/ 34 h 904"/>
                <a:gd name="T88" fmla="*/ 41 w 1807"/>
                <a:gd name="T89" fmla="*/ 760 h 904"/>
                <a:gd name="T90" fmla="*/ 253 w 1807"/>
                <a:gd name="T91" fmla="*/ 852 h 904"/>
                <a:gd name="T92" fmla="*/ 262 w 1807"/>
                <a:gd name="T93" fmla="*/ 863 h 904"/>
                <a:gd name="T94" fmla="*/ 296 w 1807"/>
                <a:gd name="T95" fmla="*/ 497 h 904"/>
                <a:gd name="T96" fmla="*/ 239 w 1807"/>
                <a:gd name="T97" fmla="*/ 854 h 904"/>
                <a:gd name="T98" fmla="*/ 114 w 1807"/>
                <a:gd name="T99" fmla="*/ 840 h 904"/>
                <a:gd name="T100" fmla="*/ 218 w 1807"/>
                <a:gd name="T101" fmla="*/ 39 h 904"/>
                <a:gd name="T102" fmla="*/ 552 w 1807"/>
                <a:gd name="T103" fmla="*/ 280 h 904"/>
                <a:gd name="T104" fmla="*/ 569 w 1807"/>
                <a:gd name="T105" fmla="*/ 272 h 904"/>
                <a:gd name="T106" fmla="*/ 212 w 1807"/>
                <a:gd name="T107" fmla="*/ 14 h 904"/>
                <a:gd name="T108" fmla="*/ 16 w 1807"/>
                <a:gd name="T109" fmla="*/ 730 h 904"/>
                <a:gd name="T110" fmla="*/ 187 w 1807"/>
                <a:gd name="T111" fmla="*/ 887 h 904"/>
                <a:gd name="T112" fmla="*/ 274 w 1807"/>
                <a:gd name="T113" fmla="*/ 830 h 904"/>
                <a:gd name="T114" fmla="*/ 519 w 1807"/>
                <a:gd name="T115" fmla="*/ 53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7" h="904">
                  <a:moveTo>
                    <a:pt x="1806" y="829"/>
                  </a:moveTo>
                  <a:cubicBezTo>
                    <a:pt x="1806" y="826"/>
                    <a:pt x="1805" y="823"/>
                    <a:pt x="1805" y="820"/>
                  </a:cubicBezTo>
                  <a:cubicBezTo>
                    <a:pt x="1805" y="815"/>
                    <a:pt x="1805" y="809"/>
                    <a:pt x="1805" y="804"/>
                  </a:cubicBezTo>
                  <a:cubicBezTo>
                    <a:pt x="1805" y="793"/>
                    <a:pt x="1804" y="783"/>
                    <a:pt x="1804" y="774"/>
                  </a:cubicBezTo>
                  <a:cubicBezTo>
                    <a:pt x="1802" y="736"/>
                    <a:pt x="1801" y="719"/>
                    <a:pt x="1799" y="728"/>
                  </a:cubicBezTo>
                  <a:cubicBezTo>
                    <a:pt x="1799" y="734"/>
                    <a:pt x="1798" y="731"/>
                    <a:pt x="1797" y="735"/>
                  </a:cubicBezTo>
                  <a:cubicBezTo>
                    <a:pt x="1796" y="740"/>
                    <a:pt x="1795" y="757"/>
                    <a:pt x="1794" y="776"/>
                  </a:cubicBezTo>
                  <a:cubicBezTo>
                    <a:pt x="1793" y="786"/>
                    <a:pt x="1793" y="797"/>
                    <a:pt x="1792" y="807"/>
                  </a:cubicBezTo>
                  <a:cubicBezTo>
                    <a:pt x="1792" y="813"/>
                    <a:pt x="1792" y="818"/>
                    <a:pt x="1791" y="823"/>
                  </a:cubicBezTo>
                  <a:cubicBezTo>
                    <a:pt x="1791" y="826"/>
                    <a:pt x="1791" y="828"/>
                    <a:pt x="1791" y="831"/>
                  </a:cubicBezTo>
                  <a:cubicBezTo>
                    <a:pt x="1791" y="832"/>
                    <a:pt x="1791" y="833"/>
                    <a:pt x="1791" y="834"/>
                  </a:cubicBezTo>
                  <a:cubicBezTo>
                    <a:pt x="1791" y="835"/>
                    <a:pt x="1790" y="836"/>
                    <a:pt x="1790" y="837"/>
                  </a:cubicBezTo>
                  <a:cubicBezTo>
                    <a:pt x="1790" y="839"/>
                    <a:pt x="1790" y="841"/>
                    <a:pt x="1790" y="843"/>
                  </a:cubicBezTo>
                  <a:cubicBezTo>
                    <a:pt x="1790" y="847"/>
                    <a:pt x="1790" y="852"/>
                    <a:pt x="1787" y="855"/>
                  </a:cubicBezTo>
                  <a:cubicBezTo>
                    <a:pt x="1786" y="857"/>
                    <a:pt x="1784" y="859"/>
                    <a:pt x="1782" y="859"/>
                  </a:cubicBezTo>
                  <a:cubicBezTo>
                    <a:pt x="1780" y="860"/>
                    <a:pt x="1778" y="860"/>
                    <a:pt x="1775" y="860"/>
                  </a:cubicBezTo>
                  <a:cubicBezTo>
                    <a:pt x="1773" y="860"/>
                    <a:pt x="1771" y="860"/>
                    <a:pt x="1768" y="861"/>
                  </a:cubicBezTo>
                  <a:cubicBezTo>
                    <a:pt x="1766" y="861"/>
                    <a:pt x="1764" y="861"/>
                    <a:pt x="1761" y="861"/>
                  </a:cubicBezTo>
                  <a:cubicBezTo>
                    <a:pt x="1755" y="861"/>
                    <a:pt x="1748" y="861"/>
                    <a:pt x="1741" y="861"/>
                  </a:cubicBezTo>
                  <a:cubicBezTo>
                    <a:pt x="1736" y="861"/>
                    <a:pt x="1730" y="861"/>
                    <a:pt x="1724" y="861"/>
                  </a:cubicBezTo>
                  <a:cubicBezTo>
                    <a:pt x="1721" y="861"/>
                    <a:pt x="1719" y="861"/>
                    <a:pt x="1717" y="860"/>
                  </a:cubicBezTo>
                  <a:cubicBezTo>
                    <a:pt x="1715" y="860"/>
                    <a:pt x="1712" y="860"/>
                    <a:pt x="1710" y="860"/>
                  </a:cubicBezTo>
                  <a:cubicBezTo>
                    <a:pt x="1705" y="859"/>
                    <a:pt x="1701" y="858"/>
                    <a:pt x="1696" y="857"/>
                  </a:cubicBezTo>
                  <a:cubicBezTo>
                    <a:pt x="1686" y="855"/>
                    <a:pt x="1677" y="852"/>
                    <a:pt x="1667" y="848"/>
                  </a:cubicBezTo>
                  <a:cubicBezTo>
                    <a:pt x="1649" y="840"/>
                    <a:pt x="1630" y="828"/>
                    <a:pt x="1614" y="812"/>
                  </a:cubicBezTo>
                  <a:cubicBezTo>
                    <a:pt x="1604" y="801"/>
                    <a:pt x="1595" y="787"/>
                    <a:pt x="1590" y="773"/>
                  </a:cubicBezTo>
                  <a:cubicBezTo>
                    <a:pt x="1588" y="766"/>
                    <a:pt x="1587" y="758"/>
                    <a:pt x="1587" y="750"/>
                  </a:cubicBezTo>
                  <a:cubicBezTo>
                    <a:pt x="1587" y="741"/>
                    <a:pt x="1587" y="732"/>
                    <a:pt x="1587" y="722"/>
                  </a:cubicBezTo>
                  <a:cubicBezTo>
                    <a:pt x="1588" y="684"/>
                    <a:pt x="1588" y="644"/>
                    <a:pt x="1589" y="602"/>
                  </a:cubicBezTo>
                  <a:cubicBezTo>
                    <a:pt x="1589" y="600"/>
                    <a:pt x="1589" y="596"/>
                    <a:pt x="1589" y="593"/>
                  </a:cubicBezTo>
                  <a:cubicBezTo>
                    <a:pt x="1589" y="590"/>
                    <a:pt x="1588" y="587"/>
                    <a:pt x="1588" y="584"/>
                  </a:cubicBezTo>
                  <a:cubicBezTo>
                    <a:pt x="1587" y="578"/>
                    <a:pt x="1586" y="572"/>
                    <a:pt x="1585" y="565"/>
                  </a:cubicBezTo>
                  <a:cubicBezTo>
                    <a:pt x="1582" y="553"/>
                    <a:pt x="1577" y="541"/>
                    <a:pt x="1570" y="530"/>
                  </a:cubicBezTo>
                  <a:cubicBezTo>
                    <a:pt x="1557" y="507"/>
                    <a:pt x="1537" y="487"/>
                    <a:pt x="1513" y="475"/>
                  </a:cubicBezTo>
                  <a:cubicBezTo>
                    <a:pt x="1501" y="468"/>
                    <a:pt x="1487" y="464"/>
                    <a:pt x="1474" y="462"/>
                  </a:cubicBezTo>
                  <a:cubicBezTo>
                    <a:pt x="1467" y="461"/>
                    <a:pt x="1460" y="460"/>
                    <a:pt x="1452" y="460"/>
                  </a:cubicBezTo>
                  <a:cubicBezTo>
                    <a:pt x="1446" y="460"/>
                    <a:pt x="1439" y="460"/>
                    <a:pt x="1433" y="460"/>
                  </a:cubicBezTo>
                  <a:cubicBezTo>
                    <a:pt x="1406" y="462"/>
                    <a:pt x="1380" y="469"/>
                    <a:pt x="1356" y="479"/>
                  </a:cubicBezTo>
                  <a:cubicBezTo>
                    <a:pt x="1319" y="495"/>
                    <a:pt x="1285" y="518"/>
                    <a:pt x="1253" y="544"/>
                  </a:cubicBezTo>
                  <a:cubicBezTo>
                    <a:pt x="1222" y="570"/>
                    <a:pt x="1192" y="599"/>
                    <a:pt x="1161" y="626"/>
                  </a:cubicBezTo>
                  <a:cubicBezTo>
                    <a:pt x="1153" y="633"/>
                    <a:pt x="1145" y="640"/>
                    <a:pt x="1137" y="647"/>
                  </a:cubicBezTo>
                  <a:cubicBezTo>
                    <a:pt x="1129" y="654"/>
                    <a:pt x="1121" y="661"/>
                    <a:pt x="1113" y="669"/>
                  </a:cubicBezTo>
                  <a:cubicBezTo>
                    <a:pt x="1097" y="683"/>
                    <a:pt x="1080" y="698"/>
                    <a:pt x="1063" y="712"/>
                  </a:cubicBezTo>
                  <a:cubicBezTo>
                    <a:pt x="1047" y="726"/>
                    <a:pt x="1029" y="740"/>
                    <a:pt x="1011" y="752"/>
                  </a:cubicBezTo>
                  <a:cubicBezTo>
                    <a:pt x="993" y="764"/>
                    <a:pt x="975" y="775"/>
                    <a:pt x="955" y="781"/>
                  </a:cubicBezTo>
                  <a:cubicBezTo>
                    <a:pt x="940" y="786"/>
                    <a:pt x="924" y="788"/>
                    <a:pt x="908" y="787"/>
                  </a:cubicBezTo>
                  <a:cubicBezTo>
                    <a:pt x="892" y="786"/>
                    <a:pt x="877" y="782"/>
                    <a:pt x="861" y="775"/>
                  </a:cubicBezTo>
                  <a:cubicBezTo>
                    <a:pt x="845" y="768"/>
                    <a:pt x="830" y="759"/>
                    <a:pt x="815" y="749"/>
                  </a:cubicBezTo>
                  <a:cubicBezTo>
                    <a:pt x="800" y="738"/>
                    <a:pt x="786" y="726"/>
                    <a:pt x="771" y="714"/>
                  </a:cubicBezTo>
                  <a:cubicBezTo>
                    <a:pt x="742" y="688"/>
                    <a:pt x="713" y="661"/>
                    <a:pt x="683" y="634"/>
                  </a:cubicBezTo>
                  <a:cubicBezTo>
                    <a:pt x="672" y="624"/>
                    <a:pt x="672" y="624"/>
                    <a:pt x="672" y="624"/>
                  </a:cubicBezTo>
                  <a:cubicBezTo>
                    <a:pt x="661" y="615"/>
                    <a:pt x="661" y="615"/>
                    <a:pt x="661" y="615"/>
                  </a:cubicBezTo>
                  <a:cubicBezTo>
                    <a:pt x="640" y="594"/>
                    <a:pt x="640" y="594"/>
                    <a:pt x="640" y="594"/>
                  </a:cubicBezTo>
                  <a:cubicBezTo>
                    <a:pt x="625" y="581"/>
                    <a:pt x="611" y="567"/>
                    <a:pt x="595" y="553"/>
                  </a:cubicBezTo>
                  <a:cubicBezTo>
                    <a:pt x="565" y="526"/>
                    <a:pt x="531" y="500"/>
                    <a:pt x="492" y="480"/>
                  </a:cubicBezTo>
                  <a:cubicBezTo>
                    <a:pt x="472" y="470"/>
                    <a:pt x="451" y="462"/>
                    <a:pt x="429" y="458"/>
                  </a:cubicBezTo>
                  <a:cubicBezTo>
                    <a:pt x="418" y="455"/>
                    <a:pt x="407" y="453"/>
                    <a:pt x="396" y="453"/>
                  </a:cubicBezTo>
                  <a:cubicBezTo>
                    <a:pt x="390" y="452"/>
                    <a:pt x="384" y="452"/>
                    <a:pt x="379" y="452"/>
                  </a:cubicBezTo>
                  <a:cubicBezTo>
                    <a:pt x="373" y="452"/>
                    <a:pt x="366" y="452"/>
                    <a:pt x="360" y="453"/>
                  </a:cubicBezTo>
                  <a:cubicBezTo>
                    <a:pt x="335" y="456"/>
                    <a:pt x="312" y="466"/>
                    <a:pt x="292" y="480"/>
                  </a:cubicBezTo>
                  <a:cubicBezTo>
                    <a:pt x="272" y="495"/>
                    <a:pt x="256" y="514"/>
                    <a:pt x="245" y="536"/>
                  </a:cubicBezTo>
                  <a:cubicBezTo>
                    <a:pt x="240" y="547"/>
                    <a:pt x="236" y="559"/>
                    <a:pt x="234" y="571"/>
                  </a:cubicBezTo>
                  <a:cubicBezTo>
                    <a:pt x="232" y="577"/>
                    <a:pt x="232" y="583"/>
                    <a:pt x="231" y="589"/>
                  </a:cubicBezTo>
                  <a:cubicBezTo>
                    <a:pt x="231" y="592"/>
                    <a:pt x="231" y="596"/>
                    <a:pt x="231" y="599"/>
                  </a:cubicBezTo>
                  <a:cubicBezTo>
                    <a:pt x="231" y="606"/>
                    <a:pt x="231" y="606"/>
                    <a:pt x="231" y="606"/>
                  </a:cubicBezTo>
                  <a:cubicBezTo>
                    <a:pt x="231" y="626"/>
                    <a:pt x="231" y="645"/>
                    <a:pt x="231" y="664"/>
                  </a:cubicBezTo>
                  <a:cubicBezTo>
                    <a:pt x="231" y="714"/>
                    <a:pt x="231" y="763"/>
                    <a:pt x="231" y="812"/>
                  </a:cubicBezTo>
                  <a:cubicBezTo>
                    <a:pt x="231" y="821"/>
                    <a:pt x="231" y="829"/>
                    <a:pt x="231" y="838"/>
                  </a:cubicBezTo>
                  <a:cubicBezTo>
                    <a:pt x="231" y="839"/>
                    <a:pt x="231" y="841"/>
                    <a:pt x="230" y="842"/>
                  </a:cubicBezTo>
                  <a:cubicBezTo>
                    <a:pt x="229" y="843"/>
                    <a:pt x="227" y="843"/>
                    <a:pt x="226" y="843"/>
                  </a:cubicBezTo>
                  <a:cubicBezTo>
                    <a:pt x="223" y="843"/>
                    <a:pt x="223" y="843"/>
                    <a:pt x="223" y="843"/>
                  </a:cubicBezTo>
                  <a:cubicBezTo>
                    <a:pt x="218" y="844"/>
                    <a:pt x="218" y="844"/>
                    <a:pt x="218" y="844"/>
                  </a:cubicBezTo>
                  <a:cubicBezTo>
                    <a:pt x="212" y="844"/>
                    <a:pt x="206" y="844"/>
                    <a:pt x="200" y="844"/>
                  </a:cubicBezTo>
                  <a:cubicBezTo>
                    <a:pt x="182" y="844"/>
                    <a:pt x="182" y="844"/>
                    <a:pt x="182" y="844"/>
                  </a:cubicBezTo>
                  <a:cubicBezTo>
                    <a:pt x="178" y="844"/>
                    <a:pt x="178" y="844"/>
                    <a:pt x="178" y="844"/>
                  </a:cubicBezTo>
                  <a:cubicBezTo>
                    <a:pt x="177" y="844"/>
                    <a:pt x="175" y="844"/>
                    <a:pt x="174" y="844"/>
                  </a:cubicBezTo>
                  <a:cubicBezTo>
                    <a:pt x="172" y="844"/>
                    <a:pt x="169" y="844"/>
                    <a:pt x="167" y="844"/>
                  </a:cubicBezTo>
                  <a:cubicBezTo>
                    <a:pt x="147" y="841"/>
                    <a:pt x="127" y="834"/>
                    <a:pt x="109" y="823"/>
                  </a:cubicBezTo>
                  <a:cubicBezTo>
                    <a:pt x="92" y="812"/>
                    <a:pt x="77" y="798"/>
                    <a:pt x="68" y="781"/>
                  </a:cubicBezTo>
                  <a:cubicBezTo>
                    <a:pt x="64" y="773"/>
                    <a:pt x="61" y="765"/>
                    <a:pt x="60" y="756"/>
                  </a:cubicBezTo>
                  <a:cubicBezTo>
                    <a:pt x="59" y="754"/>
                    <a:pt x="59" y="752"/>
                    <a:pt x="59" y="750"/>
                  </a:cubicBezTo>
                  <a:cubicBezTo>
                    <a:pt x="59" y="741"/>
                    <a:pt x="59" y="741"/>
                    <a:pt x="59" y="741"/>
                  </a:cubicBezTo>
                  <a:cubicBezTo>
                    <a:pt x="59" y="723"/>
                    <a:pt x="59" y="723"/>
                    <a:pt x="59" y="723"/>
                  </a:cubicBezTo>
                  <a:cubicBezTo>
                    <a:pt x="59" y="698"/>
                    <a:pt x="59" y="673"/>
                    <a:pt x="59" y="648"/>
                  </a:cubicBezTo>
                  <a:cubicBezTo>
                    <a:pt x="59" y="452"/>
                    <a:pt x="59" y="71"/>
                    <a:pt x="59" y="63"/>
                  </a:cubicBezTo>
                  <a:cubicBezTo>
                    <a:pt x="59" y="55"/>
                    <a:pt x="62" y="55"/>
                    <a:pt x="67" y="55"/>
                  </a:cubicBezTo>
                  <a:cubicBezTo>
                    <a:pt x="71" y="55"/>
                    <a:pt x="115" y="54"/>
                    <a:pt x="139" y="54"/>
                  </a:cubicBezTo>
                  <a:cubicBezTo>
                    <a:pt x="157" y="54"/>
                    <a:pt x="175" y="54"/>
                    <a:pt x="193" y="54"/>
                  </a:cubicBezTo>
                  <a:cubicBezTo>
                    <a:pt x="206" y="54"/>
                    <a:pt x="206" y="54"/>
                    <a:pt x="206" y="54"/>
                  </a:cubicBezTo>
                  <a:cubicBezTo>
                    <a:pt x="213" y="54"/>
                    <a:pt x="213" y="54"/>
                    <a:pt x="213" y="54"/>
                  </a:cubicBezTo>
                  <a:cubicBezTo>
                    <a:pt x="218" y="54"/>
                    <a:pt x="218" y="54"/>
                    <a:pt x="218" y="54"/>
                  </a:cubicBezTo>
                  <a:cubicBezTo>
                    <a:pt x="226" y="55"/>
                    <a:pt x="234" y="56"/>
                    <a:pt x="242" y="57"/>
                  </a:cubicBezTo>
                  <a:cubicBezTo>
                    <a:pt x="272" y="62"/>
                    <a:pt x="302" y="75"/>
                    <a:pt x="326" y="93"/>
                  </a:cubicBezTo>
                  <a:cubicBezTo>
                    <a:pt x="330" y="96"/>
                    <a:pt x="333" y="98"/>
                    <a:pt x="336" y="101"/>
                  </a:cubicBezTo>
                  <a:cubicBezTo>
                    <a:pt x="339" y="103"/>
                    <a:pt x="341" y="105"/>
                    <a:pt x="344" y="109"/>
                  </a:cubicBezTo>
                  <a:cubicBezTo>
                    <a:pt x="351" y="115"/>
                    <a:pt x="357" y="121"/>
                    <a:pt x="364" y="126"/>
                  </a:cubicBezTo>
                  <a:cubicBezTo>
                    <a:pt x="377" y="138"/>
                    <a:pt x="389" y="150"/>
                    <a:pt x="402" y="162"/>
                  </a:cubicBezTo>
                  <a:cubicBezTo>
                    <a:pt x="427" y="185"/>
                    <a:pt x="452" y="209"/>
                    <a:pt x="477" y="231"/>
                  </a:cubicBezTo>
                  <a:cubicBezTo>
                    <a:pt x="489" y="243"/>
                    <a:pt x="501" y="254"/>
                    <a:pt x="513" y="265"/>
                  </a:cubicBezTo>
                  <a:cubicBezTo>
                    <a:pt x="519" y="271"/>
                    <a:pt x="525" y="276"/>
                    <a:pt x="531" y="282"/>
                  </a:cubicBezTo>
                  <a:cubicBezTo>
                    <a:pt x="534" y="284"/>
                    <a:pt x="537" y="287"/>
                    <a:pt x="540" y="289"/>
                  </a:cubicBezTo>
                  <a:cubicBezTo>
                    <a:pt x="543" y="292"/>
                    <a:pt x="546" y="295"/>
                    <a:pt x="549" y="298"/>
                  </a:cubicBezTo>
                  <a:cubicBezTo>
                    <a:pt x="573" y="321"/>
                    <a:pt x="600" y="341"/>
                    <a:pt x="627" y="358"/>
                  </a:cubicBezTo>
                  <a:cubicBezTo>
                    <a:pt x="681" y="391"/>
                    <a:pt x="737" y="412"/>
                    <a:pt x="789" y="423"/>
                  </a:cubicBezTo>
                  <a:cubicBezTo>
                    <a:pt x="834" y="433"/>
                    <a:pt x="878" y="437"/>
                    <a:pt x="921" y="436"/>
                  </a:cubicBezTo>
                  <a:cubicBezTo>
                    <a:pt x="963" y="435"/>
                    <a:pt x="1005" y="429"/>
                    <a:pt x="1044" y="419"/>
                  </a:cubicBezTo>
                  <a:cubicBezTo>
                    <a:pt x="1086" y="409"/>
                    <a:pt x="1124" y="394"/>
                    <a:pt x="1157" y="377"/>
                  </a:cubicBezTo>
                  <a:cubicBezTo>
                    <a:pt x="1190" y="359"/>
                    <a:pt x="1217" y="340"/>
                    <a:pt x="1239" y="322"/>
                  </a:cubicBezTo>
                  <a:cubicBezTo>
                    <a:pt x="1250" y="313"/>
                    <a:pt x="1260" y="304"/>
                    <a:pt x="1269" y="295"/>
                  </a:cubicBezTo>
                  <a:cubicBezTo>
                    <a:pt x="1277" y="287"/>
                    <a:pt x="1285" y="279"/>
                    <a:pt x="1292" y="272"/>
                  </a:cubicBezTo>
                  <a:cubicBezTo>
                    <a:pt x="1305" y="258"/>
                    <a:pt x="1315" y="248"/>
                    <a:pt x="1322" y="241"/>
                  </a:cubicBezTo>
                  <a:cubicBezTo>
                    <a:pt x="1338" y="224"/>
                    <a:pt x="1351" y="210"/>
                    <a:pt x="1361" y="200"/>
                  </a:cubicBezTo>
                  <a:cubicBezTo>
                    <a:pt x="1362" y="198"/>
                    <a:pt x="1363" y="197"/>
                    <a:pt x="1364" y="196"/>
                  </a:cubicBezTo>
                  <a:cubicBezTo>
                    <a:pt x="1373" y="187"/>
                    <a:pt x="1378" y="180"/>
                    <a:pt x="1380" y="177"/>
                  </a:cubicBezTo>
                  <a:cubicBezTo>
                    <a:pt x="1383" y="173"/>
                    <a:pt x="1383" y="171"/>
                    <a:pt x="1379" y="174"/>
                  </a:cubicBezTo>
                  <a:cubicBezTo>
                    <a:pt x="1374" y="176"/>
                    <a:pt x="1369" y="180"/>
                    <a:pt x="1360" y="187"/>
                  </a:cubicBezTo>
                  <a:cubicBezTo>
                    <a:pt x="1348" y="196"/>
                    <a:pt x="1332" y="209"/>
                    <a:pt x="1312" y="226"/>
                  </a:cubicBezTo>
                  <a:cubicBezTo>
                    <a:pt x="1301" y="235"/>
                    <a:pt x="1290" y="245"/>
                    <a:pt x="1277" y="256"/>
                  </a:cubicBezTo>
                  <a:cubicBezTo>
                    <a:pt x="1270" y="262"/>
                    <a:pt x="1263" y="268"/>
                    <a:pt x="1256" y="274"/>
                  </a:cubicBezTo>
                  <a:cubicBezTo>
                    <a:pt x="1249" y="281"/>
                    <a:pt x="1241" y="287"/>
                    <a:pt x="1233" y="293"/>
                  </a:cubicBezTo>
                  <a:cubicBezTo>
                    <a:pt x="1200" y="319"/>
                    <a:pt x="1157" y="346"/>
                    <a:pt x="1101" y="366"/>
                  </a:cubicBezTo>
                  <a:cubicBezTo>
                    <a:pt x="1045" y="386"/>
                    <a:pt x="976" y="400"/>
                    <a:pt x="896" y="396"/>
                  </a:cubicBezTo>
                  <a:cubicBezTo>
                    <a:pt x="883" y="394"/>
                    <a:pt x="857" y="393"/>
                    <a:pt x="822" y="386"/>
                  </a:cubicBezTo>
                  <a:cubicBezTo>
                    <a:pt x="788" y="379"/>
                    <a:pt x="744" y="367"/>
                    <a:pt x="700" y="346"/>
                  </a:cubicBezTo>
                  <a:cubicBezTo>
                    <a:pt x="678" y="335"/>
                    <a:pt x="656" y="322"/>
                    <a:pt x="635" y="307"/>
                  </a:cubicBezTo>
                  <a:cubicBezTo>
                    <a:pt x="613" y="292"/>
                    <a:pt x="593" y="275"/>
                    <a:pt x="574" y="256"/>
                  </a:cubicBezTo>
                  <a:cubicBezTo>
                    <a:pt x="533" y="218"/>
                    <a:pt x="493" y="179"/>
                    <a:pt x="456" y="144"/>
                  </a:cubicBezTo>
                  <a:cubicBezTo>
                    <a:pt x="430" y="119"/>
                    <a:pt x="403" y="94"/>
                    <a:pt x="377" y="69"/>
                  </a:cubicBezTo>
                  <a:cubicBezTo>
                    <a:pt x="348" y="42"/>
                    <a:pt x="313" y="21"/>
                    <a:pt x="274" y="11"/>
                  </a:cubicBezTo>
                  <a:cubicBezTo>
                    <a:pt x="255" y="5"/>
                    <a:pt x="236" y="2"/>
                    <a:pt x="216" y="1"/>
                  </a:cubicBezTo>
                  <a:cubicBezTo>
                    <a:pt x="198" y="1"/>
                    <a:pt x="180" y="1"/>
                    <a:pt x="162" y="1"/>
                  </a:cubicBezTo>
                  <a:cubicBezTo>
                    <a:pt x="123" y="1"/>
                    <a:pt x="75" y="0"/>
                    <a:pt x="44" y="0"/>
                  </a:cubicBezTo>
                  <a:cubicBezTo>
                    <a:pt x="13" y="0"/>
                    <a:pt x="4" y="18"/>
                    <a:pt x="4" y="40"/>
                  </a:cubicBezTo>
                  <a:cubicBezTo>
                    <a:pt x="4" y="62"/>
                    <a:pt x="3" y="147"/>
                    <a:pt x="3" y="202"/>
                  </a:cubicBezTo>
                  <a:cubicBezTo>
                    <a:pt x="2" y="288"/>
                    <a:pt x="2" y="374"/>
                    <a:pt x="1" y="463"/>
                  </a:cubicBezTo>
                  <a:cubicBezTo>
                    <a:pt x="1" y="550"/>
                    <a:pt x="1" y="640"/>
                    <a:pt x="0" y="732"/>
                  </a:cubicBezTo>
                  <a:cubicBezTo>
                    <a:pt x="0" y="738"/>
                    <a:pt x="0" y="743"/>
                    <a:pt x="0" y="749"/>
                  </a:cubicBezTo>
                  <a:cubicBezTo>
                    <a:pt x="0" y="757"/>
                    <a:pt x="1" y="765"/>
                    <a:pt x="3" y="772"/>
                  </a:cubicBezTo>
                  <a:cubicBezTo>
                    <a:pt x="5" y="787"/>
                    <a:pt x="11" y="801"/>
                    <a:pt x="18" y="814"/>
                  </a:cubicBezTo>
                  <a:cubicBezTo>
                    <a:pt x="33" y="839"/>
                    <a:pt x="54" y="858"/>
                    <a:pt x="77" y="873"/>
                  </a:cubicBezTo>
                  <a:cubicBezTo>
                    <a:pt x="100" y="887"/>
                    <a:pt x="126" y="897"/>
                    <a:pt x="153" y="902"/>
                  </a:cubicBezTo>
                  <a:cubicBezTo>
                    <a:pt x="160" y="903"/>
                    <a:pt x="167" y="903"/>
                    <a:pt x="175" y="904"/>
                  </a:cubicBezTo>
                  <a:cubicBezTo>
                    <a:pt x="184" y="904"/>
                    <a:pt x="184" y="904"/>
                    <a:pt x="184" y="904"/>
                  </a:cubicBezTo>
                  <a:cubicBezTo>
                    <a:pt x="193" y="904"/>
                    <a:pt x="193" y="904"/>
                    <a:pt x="193" y="904"/>
                  </a:cubicBezTo>
                  <a:cubicBezTo>
                    <a:pt x="199" y="904"/>
                    <a:pt x="205" y="904"/>
                    <a:pt x="211" y="903"/>
                  </a:cubicBezTo>
                  <a:cubicBezTo>
                    <a:pt x="221" y="903"/>
                    <a:pt x="221" y="903"/>
                    <a:pt x="221" y="903"/>
                  </a:cubicBezTo>
                  <a:cubicBezTo>
                    <a:pt x="226" y="903"/>
                    <a:pt x="226" y="903"/>
                    <a:pt x="226" y="903"/>
                  </a:cubicBezTo>
                  <a:cubicBezTo>
                    <a:pt x="228" y="903"/>
                    <a:pt x="231" y="903"/>
                    <a:pt x="233" y="902"/>
                  </a:cubicBezTo>
                  <a:cubicBezTo>
                    <a:pt x="244" y="901"/>
                    <a:pt x="254" y="900"/>
                    <a:pt x="263" y="897"/>
                  </a:cubicBezTo>
                  <a:cubicBezTo>
                    <a:pt x="267" y="895"/>
                    <a:pt x="271" y="892"/>
                    <a:pt x="275" y="889"/>
                  </a:cubicBezTo>
                  <a:cubicBezTo>
                    <a:pt x="279" y="886"/>
                    <a:pt x="282" y="882"/>
                    <a:pt x="284" y="878"/>
                  </a:cubicBezTo>
                  <a:cubicBezTo>
                    <a:pt x="286" y="874"/>
                    <a:pt x="288" y="870"/>
                    <a:pt x="289" y="865"/>
                  </a:cubicBezTo>
                  <a:cubicBezTo>
                    <a:pt x="290" y="863"/>
                    <a:pt x="290" y="860"/>
                    <a:pt x="290" y="858"/>
                  </a:cubicBezTo>
                  <a:cubicBezTo>
                    <a:pt x="290" y="855"/>
                    <a:pt x="290" y="853"/>
                    <a:pt x="290" y="850"/>
                  </a:cubicBezTo>
                  <a:cubicBezTo>
                    <a:pt x="291" y="835"/>
                    <a:pt x="291" y="835"/>
                    <a:pt x="291" y="835"/>
                  </a:cubicBezTo>
                  <a:cubicBezTo>
                    <a:pt x="291" y="825"/>
                    <a:pt x="291" y="825"/>
                    <a:pt x="291" y="825"/>
                  </a:cubicBezTo>
                  <a:cubicBezTo>
                    <a:pt x="291" y="802"/>
                    <a:pt x="291" y="778"/>
                    <a:pt x="291" y="755"/>
                  </a:cubicBezTo>
                  <a:cubicBezTo>
                    <a:pt x="291" y="707"/>
                    <a:pt x="291" y="660"/>
                    <a:pt x="291" y="613"/>
                  </a:cubicBezTo>
                  <a:cubicBezTo>
                    <a:pt x="291" y="604"/>
                    <a:pt x="291" y="604"/>
                    <a:pt x="291" y="604"/>
                  </a:cubicBezTo>
                  <a:cubicBezTo>
                    <a:pt x="291" y="600"/>
                    <a:pt x="291" y="600"/>
                    <a:pt x="291" y="600"/>
                  </a:cubicBezTo>
                  <a:cubicBezTo>
                    <a:pt x="291" y="599"/>
                    <a:pt x="291" y="598"/>
                    <a:pt x="291" y="596"/>
                  </a:cubicBezTo>
                  <a:cubicBezTo>
                    <a:pt x="291" y="592"/>
                    <a:pt x="292" y="588"/>
                    <a:pt x="292" y="583"/>
                  </a:cubicBezTo>
                  <a:cubicBezTo>
                    <a:pt x="294" y="575"/>
                    <a:pt x="297" y="566"/>
                    <a:pt x="301" y="559"/>
                  </a:cubicBezTo>
                  <a:cubicBezTo>
                    <a:pt x="309" y="543"/>
                    <a:pt x="323" y="530"/>
                    <a:pt x="338" y="522"/>
                  </a:cubicBezTo>
                  <a:cubicBezTo>
                    <a:pt x="346" y="518"/>
                    <a:pt x="354" y="515"/>
                    <a:pt x="362" y="513"/>
                  </a:cubicBezTo>
                  <a:cubicBezTo>
                    <a:pt x="366" y="512"/>
                    <a:pt x="371" y="512"/>
                    <a:pt x="375" y="512"/>
                  </a:cubicBezTo>
                  <a:cubicBezTo>
                    <a:pt x="377" y="512"/>
                    <a:pt x="380" y="512"/>
                    <a:pt x="382" y="512"/>
                  </a:cubicBezTo>
                  <a:cubicBezTo>
                    <a:pt x="385" y="512"/>
                    <a:pt x="387" y="512"/>
                    <a:pt x="390" y="512"/>
                  </a:cubicBezTo>
                  <a:cubicBezTo>
                    <a:pt x="410" y="514"/>
                    <a:pt x="429" y="518"/>
                    <a:pt x="448" y="526"/>
                  </a:cubicBezTo>
                  <a:cubicBezTo>
                    <a:pt x="486" y="541"/>
                    <a:pt x="521" y="567"/>
                    <a:pt x="555" y="596"/>
                  </a:cubicBezTo>
                  <a:cubicBezTo>
                    <a:pt x="571" y="611"/>
                    <a:pt x="588" y="626"/>
                    <a:pt x="604" y="641"/>
                  </a:cubicBezTo>
                  <a:cubicBezTo>
                    <a:pt x="612" y="649"/>
                    <a:pt x="621" y="657"/>
                    <a:pt x="629" y="665"/>
                  </a:cubicBezTo>
                  <a:cubicBezTo>
                    <a:pt x="638" y="672"/>
                    <a:pt x="646" y="679"/>
                    <a:pt x="654" y="687"/>
                  </a:cubicBezTo>
                  <a:cubicBezTo>
                    <a:pt x="688" y="716"/>
                    <a:pt x="720" y="747"/>
                    <a:pt x="755" y="775"/>
                  </a:cubicBezTo>
                  <a:cubicBezTo>
                    <a:pt x="773" y="789"/>
                    <a:pt x="792" y="802"/>
                    <a:pt x="812" y="814"/>
                  </a:cubicBezTo>
                  <a:cubicBezTo>
                    <a:pt x="832" y="825"/>
                    <a:pt x="855" y="835"/>
                    <a:pt x="879" y="839"/>
                  </a:cubicBezTo>
                  <a:cubicBezTo>
                    <a:pt x="903" y="844"/>
                    <a:pt x="929" y="844"/>
                    <a:pt x="952" y="839"/>
                  </a:cubicBezTo>
                  <a:cubicBezTo>
                    <a:pt x="976" y="834"/>
                    <a:pt x="997" y="824"/>
                    <a:pt x="1016" y="814"/>
                  </a:cubicBezTo>
                  <a:cubicBezTo>
                    <a:pt x="1035" y="803"/>
                    <a:pt x="1052" y="790"/>
                    <a:pt x="1068" y="778"/>
                  </a:cubicBezTo>
                  <a:cubicBezTo>
                    <a:pt x="1084" y="765"/>
                    <a:pt x="1099" y="752"/>
                    <a:pt x="1114" y="739"/>
                  </a:cubicBezTo>
                  <a:cubicBezTo>
                    <a:pt x="1128" y="726"/>
                    <a:pt x="1142" y="713"/>
                    <a:pt x="1155" y="701"/>
                  </a:cubicBezTo>
                  <a:cubicBezTo>
                    <a:pt x="1162" y="694"/>
                    <a:pt x="1169" y="688"/>
                    <a:pt x="1176" y="682"/>
                  </a:cubicBezTo>
                  <a:cubicBezTo>
                    <a:pt x="1182" y="676"/>
                    <a:pt x="1189" y="670"/>
                    <a:pt x="1196" y="664"/>
                  </a:cubicBezTo>
                  <a:cubicBezTo>
                    <a:pt x="1223" y="639"/>
                    <a:pt x="1247" y="615"/>
                    <a:pt x="1271" y="593"/>
                  </a:cubicBezTo>
                  <a:cubicBezTo>
                    <a:pt x="1294" y="573"/>
                    <a:pt x="1316" y="554"/>
                    <a:pt x="1340" y="540"/>
                  </a:cubicBezTo>
                  <a:cubicBezTo>
                    <a:pt x="1363" y="525"/>
                    <a:pt x="1386" y="515"/>
                    <a:pt x="1410" y="509"/>
                  </a:cubicBezTo>
                  <a:cubicBezTo>
                    <a:pt x="1421" y="506"/>
                    <a:pt x="1433" y="504"/>
                    <a:pt x="1444" y="503"/>
                  </a:cubicBezTo>
                  <a:cubicBezTo>
                    <a:pt x="1446" y="503"/>
                    <a:pt x="1449" y="503"/>
                    <a:pt x="1452" y="503"/>
                  </a:cubicBezTo>
                  <a:cubicBezTo>
                    <a:pt x="1455" y="503"/>
                    <a:pt x="1457" y="503"/>
                    <a:pt x="1460" y="503"/>
                  </a:cubicBezTo>
                  <a:cubicBezTo>
                    <a:pt x="1464" y="503"/>
                    <a:pt x="1469" y="504"/>
                    <a:pt x="1474" y="505"/>
                  </a:cubicBezTo>
                  <a:cubicBezTo>
                    <a:pt x="1493" y="509"/>
                    <a:pt x="1509" y="519"/>
                    <a:pt x="1522" y="531"/>
                  </a:cubicBezTo>
                  <a:cubicBezTo>
                    <a:pt x="1535" y="544"/>
                    <a:pt x="1543" y="559"/>
                    <a:pt x="1548" y="574"/>
                  </a:cubicBezTo>
                  <a:cubicBezTo>
                    <a:pt x="1550" y="582"/>
                    <a:pt x="1551" y="590"/>
                    <a:pt x="1552" y="598"/>
                  </a:cubicBezTo>
                  <a:cubicBezTo>
                    <a:pt x="1552" y="607"/>
                    <a:pt x="1552" y="616"/>
                    <a:pt x="1552" y="624"/>
                  </a:cubicBezTo>
                  <a:cubicBezTo>
                    <a:pt x="1553" y="659"/>
                    <a:pt x="1554" y="692"/>
                    <a:pt x="1555" y="724"/>
                  </a:cubicBezTo>
                  <a:cubicBezTo>
                    <a:pt x="1555" y="732"/>
                    <a:pt x="1556" y="739"/>
                    <a:pt x="1556" y="747"/>
                  </a:cubicBezTo>
                  <a:cubicBezTo>
                    <a:pt x="1556" y="749"/>
                    <a:pt x="1556" y="752"/>
                    <a:pt x="1556" y="754"/>
                  </a:cubicBezTo>
                  <a:cubicBezTo>
                    <a:pt x="1556" y="756"/>
                    <a:pt x="1556" y="758"/>
                    <a:pt x="1557" y="761"/>
                  </a:cubicBezTo>
                  <a:cubicBezTo>
                    <a:pt x="1557" y="765"/>
                    <a:pt x="1558" y="769"/>
                    <a:pt x="1559" y="774"/>
                  </a:cubicBezTo>
                  <a:cubicBezTo>
                    <a:pt x="1564" y="791"/>
                    <a:pt x="1573" y="806"/>
                    <a:pt x="1584" y="819"/>
                  </a:cubicBezTo>
                  <a:cubicBezTo>
                    <a:pt x="1602" y="841"/>
                    <a:pt x="1628" y="858"/>
                    <a:pt x="1656" y="869"/>
                  </a:cubicBezTo>
                  <a:cubicBezTo>
                    <a:pt x="1670" y="875"/>
                    <a:pt x="1685" y="879"/>
                    <a:pt x="1700" y="881"/>
                  </a:cubicBezTo>
                  <a:cubicBezTo>
                    <a:pt x="1708" y="882"/>
                    <a:pt x="1716" y="882"/>
                    <a:pt x="1723" y="882"/>
                  </a:cubicBezTo>
                  <a:cubicBezTo>
                    <a:pt x="1731" y="882"/>
                    <a:pt x="1738" y="881"/>
                    <a:pt x="1745" y="881"/>
                  </a:cubicBezTo>
                  <a:cubicBezTo>
                    <a:pt x="1749" y="881"/>
                    <a:pt x="1752" y="881"/>
                    <a:pt x="1756" y="880"/>
                  </a:cubicBezTo>
                  <a:cubicBezTo>
                    <a:pt x="1759" y="880"/>
                    <a:pt x="1763" y="880"/>
                    <a:pt x="1767" y="880"/>
                  </a:cubicBezTo>
                  <a:cubicBezTo>
                    <a:pt x="1775" y="879"/>
                    <a:pt x="1783" y="878"/>
                    <a:pt x="1790" y="876"/>
                  </a:cubicBezTo>
                  <a:cubicBezTo>
                    <a:pt x="1792" y="875"/>
                    <a:pt x="1794" y="875"/>
                    <a:pt x="1795" y="874"/>
                  </a:cubicBezTo>
                  <a:cubicBezTo>
                    <a:pt x="1797" y="873"/>
                    <a:pt x="1799" y="872"/>
                    <a:pt x="1800" y="870"/>
                  </a:cubicBezTo>
                  <a:cubicBezTo>
                    <a:pt x="1803" y="868"/>
                    <a:pt x="1804" y="864"/>
                    <a:pt x="1805" y="861"/>
                  </a:cubicBezTo>
                  <a:cubicBezTo>
                    <a:pt x="1807" y="854"/>
                    <a:pt x="1806" y="846"/>
                    <a:pt x="1806" y="839"/>
                  </a:cubicBezTo>
                  <a:cubicBezTo>
                    <a:pt x="1806" y="836"/>
                    <a:pt x="1806" y="832"/>
                    <a:pt x="1806" y="829"/>
                  </a:cubicBezTo>
                  <a:close/>
                  <a:moveTo>
                    <a:pt x="1637" y="843"/>
                  </a:moveTo>
                  <a:cubicBezTo>
                    <a:pt x="1633" y="842"/>
                    <a:pt x="1627" y="839"/>
                    <a:pt x="1619" y="834"/>
                  </a:cubicBezTo>
                  <a:cubicBezTo>
                    <a:pt x="1611" y="829"/>
                    <a:pt x="1602" y="822"/>
                    <a:pt x="1592" y="811"/>
                  </a:cubicBezTo>
                  <a:cubicBezTo>
                    <a:pt x="1585" y="803"/>
                    <a:pt x="1579" y="794"/>
                    <a:pt x="1573" y="783"/>
                  </a:cubicBezTo>
                  <a:cubicBezTo>
                    <a:pt x="1571" y="777"/>
                    <a:pt x="1569" y="771"/>
                    <a:pt x="1567" y="765"/>
                  </a:cubicBezTo>
                  <a:cubicBezTo>
                    <a:pt x="1566" y="761"/>
                    <a:pt x="1566" y="758"/>
                    <a:pt x="1566" y="754"/>
                  </a:cubicBezTo>
                  <a:cubicBezTo>
                    <a:pt x="1565" y="752"/>
                    <a:pt x="1565" y="750"/>
                    <a:pt x="1565" y="749"/>
                  </a:cubicBezTo>
                  <a:cubicBezTo>
                    <a:pt x="1565" y="747"/>
                    <a:pt x="1565" y="745"/>
                    <a:pt x="1565" y="743"/>
                  </a:cubicBezTo>
                  <a:cubicBezTo>
                    <a:pt x="1564" y="720"/>
                    <a:pt x="1563" y="693"/>
                    <a:pt x="1562" y="663"/>
                  </a:cubicBezTo>
                  <a:cubicBezTo>
                    <a:pt x="1562" y="648"/>
                    <a:pt x="1562" y="632"/>
                    <a:pt x="1561" y="615"/>
                  </a:cubicBezTo>
                  <a:cubicBezTo>
                    <a:pt x="1561" y="611"/>
                    <a:pt x="1561" y="607"/>
                    <a:pt x="1561" y="602"/>
                  </a:cubicBezTo>
                  <a:cubicBezTo>
                    <a:pt x="1561" y="600"/>
                    <a:pt x="1561" y="598"/>
                    <a:pt x="1561" y="596"/>
                  </a:cubicBezTo>
                  <a:cubicBezTo>
                    <a:pt x="1560" y="594"/>
                    <a:pt x="1560" y="592"/>
                    <a:pt x="1560" y="590"/>
                  </a:cubicBezTo>
                  <a:cubicBezTo>
                    <a:pt x="1559" y="582"/>
                    <a:pt x="1557" y="574"/>
                    <a:pt x="1554" y="566"/>
                  </a:cubicBezTo>
                  <a:cubicBezTo>
                    <a:pt x="1549" y="550"/>
                    <a:pt x="1539" y="535"/>
                    <a:pt x="1526" y="523"/>
                  </a:cubicBezTo>
                  <a:cubicBezTo>
                    <a:pt x="1513" y="510"/>
                    <a:pt x="1496" y="501"/>
                    <a:pt x="1477" y="497"/>
                  </a:cubicBezTo>
                  <a:cubicBezTo>
                    <a:pt x="1472" y="496"/>
                    <a:pt x="1468" y="495"/>
                    <a:pt x="1463" y="495"/>
                  </a:cubicBezTo>
                  <a:cubicBezTo>
                    <a:pt x="1458" y="494"/>
                    <a:pt x="1453" y="494"/>
                    <a:pt x="1448" y="494"/>
                  </a:cubicBezTo>
                  <a:cubicBezTo>
                    <a:pt x="1438" y="495"/>
                    <a:pt x="1427" y="496"/>
                    <a:pt x="1417" y="498"/>
                  </a:cubicBezTo>
                  <a:cubicBezTo>
                    <a:pt x="1396" y="503"/>
                    <a:pt x="1375" y="510"/>
                    <a:pt x="1355" y="521"/>
                  </a:cubicBezTo>
                  <a:cubicBezTo>
                    <a:pt x="1335" y="532"/>
                    <a:pt x="1315" y="546"/>
                    <a:pt x="1296" y="561"/>
                  </a:cubicBezTo>
                  <a:cubicBezTo>
                    <a:pt x="1276" y="576"/>
                    <a:pt x="1258" y="594"/>
                    <a:pt x="1239" y="612"/>
                  </a:cubicBezTo>
                  <a:cubicBezTo>
                    <a:pt x="1220" y="630"/>
                    <a:pt x="1200" y="649"/>
                    <a:pt x="1179" y="668"/>
                  </a:cubicBezTo>
                  <a:cubicBezTo>
                    <a:pt x="1159" y="687"/>
                    <a:pt x="1138" y="706"/>
                    <a:pt x="1117" y="726"/>
                  </a:cubicBezTo>
                  <a:cubicBezTo>
                    <a:pt x="1095" y="745"/>
                    <a:pt x="1073" y="765"/>
                    <a:pt x="1048" y="784"/>
                  </a:cubicBezTo>
                  <a:cubicBezTo>
                    <a:pt x="1036" y="793"/>
                    <a:pt x="1022" y="802"/>
                    <a:pt x="1008" y="810"/>
                  </a:cubicBezTo>
                  <a:cubicBezTo>
                    <a:pt x="994" y="818"/>
                    <a:pt x="978" y="824"/>
                    <a:pt x="962" y="829"/>
                  </a:cubicBezTo>
                  <a:cubicBezTo>
                    <a:pt x="945" y="834"/>
                    <a:pt x="927" y="836"/>
                    <a:pt x="910" y="836"/>
                  </a:cubicBezTo>
                  <a:cubicBezTo>
                    <a:pt x="892" y="835"/>
                    <a:pt x="874" y="832"/>
                    <a:pt x="857" y="827"/>
                  </a:cubicBezTo>
                  <a:cubicBezTo>
                    <a:pt x="840" y="821"/>
                    <a:pt x="825" y="813"/>
                    <a:pt x="810" y="805"/>
                  </a:cubicBezTo>
                  <a:cubicBezTo>
                    <a:pt x="795" y="796"/>
                    <a:pt x="781" y="786"/>
                    <a:pt x="767" y="776"/>
                  </a:cubicBezTo>
                  <a:cubicBezTo>
                    <a:pt x="741" y="756"/>
                    <a:pt x="716" y="733"/>
                    <a:pt x="691" y="711"/>
                  </a:cubicBezTo>
                  <a:cubicBezTo>
                    <a:pt x="678" y="700"/>
                    <a:pt x="666" y="689"/>
                    <a:pt x="653" y="678"/>
                  </a:cubicBezTo>
                  <a:cubicBezTo>
                    <a:pt x="647" y="672"/>
                    <a:pt x="641" y="666"/>
                    <a:pt x="634" y="661"/>
                  </a:cubicBezTo>
                  <a:cubicBezTo>
                    <a:pt x="628" y="655"/>
                    <a:pt x="621" y="649"/>
                    <a:pt x="615" y="643"/>
                  </a:cubicBezTo>
                  <a:cubicBezTo>
                    <a:pt x="590" y="620"/>
                    <a:pt x="565" y="597"/>
                    <a:pt x="539" y="576"/>
                  </a:cubicBezTo>
                  <a:cubicBezTo>
                    <a:pt x="513" y="555"/>
                    <a:pt x="486" y="536"/>
                    <a:pt x="456" y="523"/>
                  </a:cubicBezTo>
                  <a:cubicBezTo>
                    <a:pt x="442" y="517"/>
                    <a:pt x="427" y="512"/>
                    <a:pt x="411" y="510"/>
                  </a:cubicBezTo>
                  <a:cubicBezTo>
                    <a:pt x="403" y="508"/>
                    <a:pt x="396" y="507"/>
                    <a:pt x="388" y="507"/>
                  </a:cubicBezTo>
                  <a:cubicBezTo>
                    <a:pt x="384" y="507"/>
                    <a:pt x="380" y="506"/>
                    <a:pt x="376" y="507"/>
                  </a:cubicBezTo>
                  <a:cubicBezTo>
                    <a:pt x="373" y="507"/>
                    <a:pt x="369" y="507"/>
                    <a:pt x="366" y="507"/>
                  </a:cubicBezTo>
                  <a:cubicBezTo>
                    <a:pt x="352" y="509"/>
                    <a:pt x="338" y="515"/>
                    <a:pt x="327" y="523"/>
                  </a:cubicBezTo>
                  <a:cubicBezTo>
                    <a:pt x="315" y="531"/>
                    <a:pt x="305" y="542"/>
                    <a:pt x="298" y="554"/>
                  </a:cubicBezTo>
                  <a:cubicBezTo>
                    <a:pt x="291" y="567"/>
                    <a:pt x="287" y="581"/>
                    <a:pt x="286" y="595"/>
                  </a:cubicBezTo>
                  <a:cubicBezTo>
                    <a:pt x="286" y="597"/>
                    <a:pt x="286" y="598"/>
                    <a:pt x="286" y="600"/>
                  </a:cubicBezTo>
                  <a:cubicBezTo>
                    <a:pt x="286" y="607"/>
                    <a:pt x="286" y="607"/>
                    <a:pt x="286" y="607"/>
                  </a:cubicBezTo>
                  <a:cubicBezTo>
                    <a:pt x="286" y="621"/>
                    <a:pt x="286" y="621"/>
                    <a:pt x="286" y="621"/>
                  </a:cubicBezTo>
                  <a:cubicBezTo>
                    <a:pt x="286" y="630"/>
                    <a:pt x="286" y="639"/>
                    <a:pt x="286" y="648"/>
                  </a:cubicBezTo>
                  <a:cubicBezTo>
                    <a:pt x="286" y="685"/>
                    <a:pt x="286" y="722"/>
                    <a:pt x="286" y="759"/>
                  </a:cubicBezTo>
                  <a:cubicBezTo>
                    <a:pt x="286" y="777"/>
                    <a:pt x="286" y="796"/>
                    <a:pt x="286" y="814"/>
                  </a:cubicBezTo>
                  <a:cubicBezTo>
                    <a:pt x="286" y="828"/>
                    <a:pt x="286" y="828"/>
                    <a:pt x="286" y="828"/>
                  </a:cubicBezTo>
                  <a:cubicBezTo>
                    <a:pt x="286" y="832"/>
                    <a:pt x="286" y="832"/>
                    <a:pt x="286" y="832"/>
                  </a:cubicBezTo>
                  <a:cubicBezTo>
                    <a:pt x="286" y="834"/>
                    <a:pt x="286" y="834"/>
                    <a:pt x="286" y="834"/>
                  </a:cubicBezTo>
                  <a:cubicBezTo>
                    <a:pt x="286" y="837"/>
                    <a:pt x="286" y="837"/>
                    <a:pt x="286" y="837"/>
                  </a:cubicBezTo>
                  <a:cubicBezTo>
                    <a:pt x="286" y="848"/>
                    <a:pt x="286" y="848"/>
                    <a:pt x="286" y="848"/>
                  </a:cubicBezTo>
                  <a:cubicBezTo>
                    <a:pt x="286" y="852"/>
                    <a:pt x="286" y="856"/>
                    <a:pt x="285" y="859"/>
                  </a:cubicBezTo>
                  <a:cubicBezTo>
                    <a:pt x="285" y="863"/>
                    <a:pt x="284" y="866"/>
                    <a:pt x="283" y="870"/>
                  </a:cubicBezTo>
                  <a:cubicBezTo>
                    <a:pt x="281" y="876"/>
                    <a:pt x="277" y="882"/>
                    <a:pt x="271" y="887"/>
                  </a:cubicBezTo>
                  <a:cubicBezTo>
                    <a:pt x="260" y="895"/>
                    <a:pt x="244" y="897"/>
                    <a:pt x="229" y="898"/>
                  </a:cubicBezTo>
                  <a:cubicBezTo>
                    <a:pt x="220" y="899"/>
                    <a:pt x="220" y="899"/>
                    <a:pt x="220" y="899"/>
                  </a:cubicBezTo>
                  <a:cubicBezTo>
                    <a:pt x="213" y="899"/>
                    <a:pt x="213" y="899"/>
                    <a:pt x="213" y="899"/>
                  </a:cubicBezTo>
                  <a:cubicBezTo>
                    <a:pt x="208" y="899"/>
                    <a:pt x="203" y="899"/>
                    <a:pt x="198" y="899"/>
                  </a:cubicBezTo>
                  <a:cubicBezTo>
                    <a:pt x="184" y="899"/>
                    <a:pt x="184" y="899"/>
                    <a:pt x="184" y="899"/>
                  </a:cubicBezTo>
                  <a:cubicBezTo>
                    <a:pt x="176" y="899"/>
                    <a:pt x="176" y="899"/>
                    <a:pt x="176" y="899"/>
                  </a:cubicBezTo>
                  <a:cubicBezTo>
                    <a:pt x="174" y="899"/>
                    <a:pt x="171" y="899"/>
                    <a:pt x="168" y="899"/>
                  </a:cubicBezTo>
                  <a:cubicBezTo>
                    <a:pt x="157" y="898"/>
                    <a:pt x="146" y="896"/>
                    <a:pt x="136" y="893"/>
                  </a:cubicBezTo>
                  <a:cubicBezTo>
                    <a:pt x="115" y="888"/>
                    <a:pt x="95" y="879"/>
                    <a:pt x="77" y="867"/>
                  </a:cubicBezTo>
                  <a:cubicBezTo>
                    <a:pt x="59" y="856"/>
                    <a:pt x="42" y="841"/>
                    <a:pt x="29" y="822"/>
                  </a:cubicBezTo>
                  <a:cubicBezTo>
                    <a:pt x="23" y="813"/>
                    <a:pt x="17" y="803"/>
                    <a:pt x="13" y="792"/>
                  </a:cubicBezTo>
                  <a:cubicBezTo>
                    <a:pt x="9" y="781"/>
                    <a:pt x="6" y="769"/>
                    <a:pt x="5" y="757"/>
                  </a:cubicBezTo>
                  <a:cubicBezTo>
                    <a:pt x="5" y="753"/>
                    <a:pt x="5" y="753"/>
                    <a:pt x="5" y="753"/>
                  </a:cubicBezTo>
                  <a:cubicBezTo>
                    <a:pt x="5" y="748"/>
                    <a:pt x="5" y="748"/>
                    <a:pt x="5" y="748"/>
                  </a:cubicBezTo>
                  <a:cubicBezTo>
                    <a:pt x="5" y="741"/>
                    <a:pt x="5" y="741"/>
                    <a:pt x="5" y="741"/>
                  </a:cubicBezTo>
                  <a:cubicBezTo>
                    <a:pt x="5" y="727"/>
                    <a:pt x="5" y="727"/>
                    <a:pt x="5" y="727"/>
                  </a:cubicBezTo>
                  <a:cubicBezTo>
                    <a:pt x="5" y="699"/>
                    <a:pt x="5" y="699"/>
                    <a:pt x="5" y="699"/>
                  </a:cubicBezTo>
                  <a:cubicBezTo>
                    <a:pt x="5" y="548"/>
                    <a:pt x="6" y="396"/>
                    <a:pt x="7" y="247"/>
                  </a:cubicBezTo>
                  <a:cubicBezTo>
                    <a:pt x="7" y="177"/>
                    <a:pt x="8" y="57"/>
                    <a:pt x="8" y="42"/>
                  </a:cubicBezTo>
                  <a:cubicBezTo>
                    <a:pt x="8" y="27"/>
                    <a:pt x="14" y="4"/>
                    <a:pt x="46" y="4"/>
                  </a:cubicBezTo>
                  <a:cubicBezTo>
                    <a:pt x="78" y="4"/>
                    <a:pt x="124" y="5"/>
                    <a:pt x="162" y="5"/>
                  </a:cubicBezTo>
                  <a:cubicBezTo>
                    <a:pt x="180" y="5"/>
                    <a:pt x="197" y="5"/>
                    <a:pt x="214" y="5"/>
                  </a:cubicBezTo>
                  <a:cubicBezTo>
                    <a:pt x="216" y="5"/>
                    <a:pt x="218" y="5"/>
                    <a:pt x="221" y="5"/>
                  </a:cubicBezTo>
                  <a:cubicBezTo>
                    <a:pt x="223" y="6"/>
                    <a:pt x="225" y="6"/>
                    <a:pt x="228" y="6"/>
                  </a:cubicBezTo>
                  <a:cubicBezTo>
                    <a:pt x="232" y="6"/>
                    <a:pt x="237" y="7"/>
                    <a:pt x="241" y="8"/>
                  </a:cubicBezTo>
                  <a:cubicBezTo>
                    <a:pt x="250" y="9"/>
                    <a:pt x="259" y="11"/>
                    <a:pt x="268" y="13"/>
                  </a:cubicBezTo>
                  <a:cubicBezTo>
                    <a:pt x="303" y="22"/>
                    <a:pt x="335" y="39"/>
                    <a:pt x="362" y="61"/>
                  </a:cubicBezTo>
                  <a:cubicBezTo>
                    <a:pt x="365" y="63"/>
                    <a:pt x="368" y="66"/>
                    <a:pt x="371" y="69"/>
                  </a:cubicBezTo>
                  <a:cubicBezTo>
                    <a:pt x="376" y="74"/>
                    <a:pt x="376" y="74"/>
                    <a:pt x="376" y="74"/>
                  </a:cubicBezTo>
                  <a:cubicBezTo>
                    <a:pt x="380" y="78"/>
                    <a:pt x="380" y="78"/>
                    <a:pt x="380" y="78"/>
                  </a:cubicBezTo>
                  <a:cubicBezTo>
                    <a:pt x="386" y="83"/>
                    <a:pt x="392" y="88"/>
                    <a:pt x="397" y="94"/>
                  </a:cubicBezTo>
                  <a:cubicBezTo>
                    <a:pt x="409" y="105"/>
                    <a:pt x="420" y="115"/>
                    <a:pt x="431" y="126"/>
                  </a:cubicBezTo>
                  <a:cubicBezTo>
                    <a:pt x="453" y="147"/>
                    <a:pt x="474" y="168"/>
                    <a:pt x="495" y="188"/>
                  </a:cubicBezTo>
                  <a:cubicBezTo>
                    <a:pt x="516" y="208"/>
                    <a:pt x="537" y="228"/>
                    <a:pt x="557" y="247"/>
                  </a:cubicBezTo>
                  <a:cubicBezTo>
                    <a:pt x="559" y="249"/>
                    <a:pt x="562" y="252"/>
                    <a:pt x="564" y="254"/>
                  </a:cubicBezTo>
                  <a:cubicBezTo>
                    <a:pt x="568" y="258"/>
                    <a:pt x="568" y="258"/>
                    <a:pt x="568" y="258"/>
                  </a:cubicBezTo>
                  <a:cubicBezTo>
                    <a:pt x="570" y="259"/>
                    <a:pt x="571" y="260"/>
                    <a:pt x="572" y="261"/>
                  </a:cubicBezTo>
                  <a:cubicBezTo>
                    <a:pt x="577" y="266"/>
                    <a:pt x="581" y="271"/>
                    <a:pt x="586" y="275"/>
                  </a:cubicBezTo>
                  <a:cubicBezTo>
                    <a:pt x="596" y="284"/>
                    <a:pt x="606" y="292"/>
                    <a:pt x="616" y="300"/>
                  </a:cubicBezTo>
                  <a:cubicBezTo>
                    <a:pt x="656" y="331"/>
                    <a:pt x="699" y="354"/>
                    <a:pt x="741" y="370"/>
                  </a:cubicBezTo>
                  <a:cubicBezTo>
                    <a:pt x="783" y="386"/>
                    <a:pt x="825" y="395"/>
                    <a:pt x="864" y="400"/>
                  </a:cubicBezTo>
                  <a:cubicBezTo>
                    <a:pt x="903" y="404"/>
                    <a:pt x="940" y="404"/>
                    <a:pt x="972" y="401"/>
                  </a:cubicBezTo>
                  <a:cubicBezTo>
                    <a:pt x="1038" y="396"/>
                    <a:pt x="1089" y="380"/>
                    <a:pt x="1125" y="366"/>
                  </a:cubicBezTo>
                  <a:cubicBezTo>
                    <a:pt x="1148" y="357"/>
                    <a:pt x="1165" y="349"/>
                    <a:pt x="1175" y="344"/>
                  </a:cubicBezTo>
                  <a:cubicBezTo>
                    <a:pt x="1186" y="339"/>
                    <a:pt x="1191" y="338"/>
                    <a:pt x="1191" y="339"/>
                  </a:cubicBezTo>
                  <a:cubicBezTo>
                    <a:pt x="1191" y="341"/>
                    <a:pt x="1185" y="346"/>
                    <a:pt x="1175" y="353"/>
                  </a:cubicBezTo>
                  <a:cubicBezTo>
                    <a:pt x="1164" y="361"/>
                    <a:pt x="1147" y="371"/>
                    <a:pt x="1123" y="383"/>
                  </a:cubicBezTo>
                  <a:cubicBezTo>
                    <a:pt x="1117" y="386"/>
                    <a:pt x="1104" y="393"/>
                    <a:pt x="1084" y="400"/>
                  </a:cubicBezTo>
                  <a:cubicBezTo>
                    <a:pt x="1063" y="408"/>
                    <a:pt x="1035" y="417"/>
                    <a:pt x="1000" y="423"/>
                  </a:cubicBezTo>
                  <a:cubicBezTo>
                    <a:pt x="965" y="429"/>
                    <a:pt x="923" y="433"/>
                    <a:pt x="875" y="430"/>
                  </a:cubicBezTo>
                  <a:cubicBezTo>
                    <a:pt x="828" y="427"/>
                    <a:pt x="775" y="418"/>
                    <a:pt x="721" y="398"/>
                  </a:cubicBezTo>
                  <a:cubicBezTo>
                    <a:pt x="661" y="376"/>
                    <a:pt x="604" y="341"/>
                    <a:pt x="555" y="296"/>
                  </a:cubicBezTo>
                  <a:cubicBezTo>
                    <a:pt x="552" y="293"/>
                    <a:pt x="549" y="290"/>
                    <a:pt x="546" y="287"/>
                  </a:cubicBezTo>
                  <a:cubicBezTo>
                    <a:pt x="544" y="285"/>
                    <a:pt x="544" y="285"/>
                    <a:pt x="544" y="285"/>
                  </a:cubicBezTo>
                  <a:cubicBezTo>
                    <a:pt x="542" y="283"/>
                    <a:pt x="542" y="283"/>
                    <a:pt x="542" y="283"/>
                  </a:cubicBezTo>
                  <a:cubicBezTo>
                    <a:pt x="537" y="279"/>
                    <a:pt x="537" y="279"/>
                    <a:pt x="537" y="279"/>
                  </a:cubicBezTo>
                  <a:cubicBezTo>
                    <a:pt x="531" y="274"/>
                    <a:pt x="526" y="268"/>
                    <a:pt x="520" y="263"/>
                  </a:cubicBezTo>
                  <a:cubicBezTo>
                    <a:pt x="508" y="251"/>
                    <a:pt x="496" y="240"/>
                    <a:pt x="484" y="229"/>
                  </a:cubicBezTo>
                  <a:cubicBezTo>
                    <a:pt x="460" y="207"/>
                    <a:pt x="436" y="184"/>
                    <a:pt x="411" y="162"/>
                  </a:cubicBezTo>
                  <a:cubicBezTo>
                    <a:pt x="399" y="150"/>
                    <a:pt x="387" y="139"/>
                    <a:pt x="375" y="127"/>
                  </a:cubicBezTo>
                  <a:cubicBezTo>
                    <a:pt x="369" y="122"/>
                    <a:pt x="362" y="116"/>
                    <a:pt x="356" y="110"/>
                  </a:cubicBezTo>
                  <a:cubicBezTo>
                    <a:pt x="347" y="102"/>
                    <a:pt x="347" y="102"/>
                    <a:pt x="347" y="102"/>
                  </a:cubicBezTo>
                  <a:cubicBezTo>
                    <a:pt x="345" y="100"/>
                    <a:pt x="345" y="100"/>
                    <a:pt x="345" y="100"/>
                  </a:cubicBezTo>
                  <a:cubicBezTo>
                    <a:pt x="343" y="98"/>
                    <a:pt x="343" y="98"/>
                    <a:pt x="343" y="98"/>
                  </a:cubicBezTo>
                  <a:cubicBezTo>
                    <a:pt x="338" y="94"/>
                    <a:pt x="338" y="94"/>
                    <a:pt x="338" y="94"/>
                  </a:cubicBezTo>
                  <a:cubicBezTo>
                    <a:pt x="315" y="75"/>
                    <a:pt x="287" y="60"/>
                    <a:pt x="257" y="53"/>
                  </a:cubicBezTo>
                  <a:cubicBezTo>
                    <a:pt x="242" y="49"/>
                    <a:pt x="226" y="47"/>
                    <a:pt x="211" y="47"/>
                  </a:cubicBezTo>
                  <a:cubicBezTo>
                    <a:pt x="193" y="47"/>
                    <a:pt x="176" y="48"/>
                    <a:pt x="159" y="48"/>
                  </a:cubicBezTo>
                  <a:cubicBezTo>
                    <a:pt x="127" y="48"/>
                    <a:pt x="76" y="48"/>
                    <a:pt x="64" y="48"/>
                  </a:cubicBezTo>
                  <a:cubicBezTo>
                    <a:pt x="52" y="48"/>
                    <a:pt x="52" y="56"/>
                    <a:pt x="52" y="60"/>
                  </a:cubicBezTo>
                  <a:cubicBezTo>
                    <a:pt x="52" y="64"/>
                    <a:pt x="53" y="470"/>
                    <a:pt x="54" y="676"/>
                  </a:cubicBezTo>
                  <a:cubicBezTo>
                    <a:pt x="54" y="689"/>
                    <a:pt x="54" y="702"/>
                    <a:pt x="54" y="715"/>
                  </a:cubicBezTo>
                  <a:cubicBezTo>
                    <a:pt x="54" y="734"/>
                    <a:pt x="54" y="734"/>
                    <a:pt x="54" y="734"/>
                  </a:cubicBezTo>
                  <a:cubicBezTo>
                    <a:pt x="54" y="744"/>
                    <a:pt x="54" y="744"/>
                    <a:pt x="54" y="744"/>
                  </a:cubicBezTo>
                  <a:cubicBezTo>
                    <a:pt x="54" y="749"/>
                    <a:pt x="54" y="749"/>
                    <a:pt x="54" y="749"/>
                  </a:cubicBezTo>
                  <a:cubicBezTo>
                    <a:pt x="54" y="750"/>
                    <a:pt x="54" y="751"/>
                    <a:pt x="54" y="752"/>
                  </a:cubicBezTo>
                  <a:cubicBezTo>
                    <a:pt x="55" y="771"/>
                    <a:pt x="65" y="790"/>
                    <a:pt x="80" y="806"/>
                  </a:cubicBezTo>
                  <a:cubicBezTo>
                    <a:pt x="95" y="821"/>
                    <a:pt x="115" y="833"/>
                    <a:pt x="136" y="841"/>
                  </a:cubicBezTo>
                  <a:cubicBezTo>
                    <a:pt x="146" y="844"/>
                    <a:pt x="157" y="847"/>
                    <a:pt x="168" y="848"/>
                  </a:cubicBezTo>
                  <a:cubicBezTo>
                    <a:pt x="170" y="848"/>
                    <a:pt x="173" y="848"/>
                    <a:pt x="175" y="849"/>
                  </a:cubicBezTo>
                  <a:cubicBezTo>
                    <a:pt x="177" y="849"/>
                    <a:pt x="178" y="849"/>
                    <a:pt x="179" y="849"/>
                  </a:cubicBezTo>
                  <a:cubicBezTo>
                    <a:pt x="184" y="849"/>
                    <a:pt x="184" y="849"/>
                    <a:pt x="184" y="849"/>
                  </a:cubicBezTo>
                  <a:cubicBezTo>
                    <a:pt x="191" y="849"/>
                    <a:pt x="197" y="848"/>
                    <a:pt x="203" y="848"/>
                  </a:cubicBezTo>
                  <a:cubicBezTo>
                    <a:pt x="209" y="848"/>
                    <a:pt x="215" y="848"/>
                    <a:pt x="221" y="848"/>
                  </a:cubicBezTo>
                  <a:cubicBezTo>
                    <a:pt x="224" y="847"/>
                    <a:pt x="224" y="847"/>
                    <a:pt x="224" y="847"/>
                  </a:cubicBezTo>
                  <a:cubicBezTo>
                    <a:pt x="225" y="847"/>
                    <a:pt x="225" y="847"/>
                    <a:pt x="225" y="847"/>
                  </a:cubicBezTo>
                  <a:cubicBezTo>
                    <a:pt x="226" y="847"/>
                    <a:pt x="228" y="847"/>
                    <a:pt x="229" y="847"/>
                  </a:cubicBezTo>
                  <a:cubicBezTo>
                    <a:pt x="230" y="847"/>
                    <a:pt x="231" y="846"/>
                    <a:pt x="232" y="846"/>
                  </a:cubicBezTo>
                  <a:cubicBezTo>
                    <a:pt x="233" y="846"/>
                    <a:pt x="234" y="845"/>
                    <a:pt x="234" y="844"/>
                  </a:cubicBezTo>
                  <a:cubicBezTo>
                    <a:pt x="235" y="842"/>
                    <a:pt x="235" y="839"/>
                    <a:pt x="235" y="837"/>
                  </a:cubicBezTo>
                  <a:cubicBezTo>
                    <a:pt x="235" y="814"/>
                    <a:pt x="235" y="791"/>
                    <a:pt x="235" y="768"/>
                  </a:cubicBezTo>
                  <a:cubicBezTo>
                    <a:pt x="234" y="717"/>
                    <a:pt x="234" y="667"/>
                    <a:pt x="234" y="617"/>
                  </a:cubicBezTo>
                  <a:cubicBezTo>
                    <a:pt x="234" y="610"/>
                    <a:pt x="234" y="604"/>
                    <a:pt x="234" y="597"/>
                  </a:cubicBezTo>
                  <a:cubicBezTo>
                    <a:pt x="234" y="589"/>
                    <a:pt x="235" y="582"/>
                    <a:pt x="236" y="574"/>
                  </a:cubicBezTo>
                  <a:cubicBezTo>
                    <a:pt x="239" y="559"/>
                    <a:pt x="244" y="544"/>
                    <a:pt x="252" y="530"/>
                  </a:cubicBezTo>
                  <a:cubicBezTo>
                    <a:pt x="267" y="502"/>
                    <a:pt x="291" y="479"/>
                    <a:pt x="320" y="466"/>
                  </a:cubicBezTo>
                  <a:cubicBezTo>
                    <a:pt x="335" y="460"/>
                    <a:pt x="351" y="456"/>
                    <a:pt x="367" y="454"/>
                  </a:cubicBezTo>
                  <a:cubicBezTo>
                    <a:pt x="371" y="454"/>
                    <a:pt x="375" y="454"/>
                    <a:pt x="379" y="454"/>
                  </a:cubicBezTo>
                  <a:cubicBezTo>
                    <a:pt x="383" y="454"/>
                    <a:pt x="386" y="454"/>
                    <a:pt x="390" y="454"/>
                  </a:cubicBezTo>
                  <a:cubicBezTo>
                    <a:pt x="397" y="455"/>
                    <a:pt x="405" y="455"/>
                    <a:pt x="412" y="457"/>
                  </a:cubicBezTo>
                  <a:cubicBezTo>
                    <a:pt x="441" y="461"/>
                    <a:pt x="470" y="471"/>
                    <a:pt x="495" y="484"/>
                  </a:cubicBezTo>
                  <a:cubicBezTo>
                    <a:pt x="521" y="497"/>
                    <a:pt x="544" y="513"/>
                    <a:pt x="565" y="530"/>
                  </a:cubicBezTo>
                  <a:cubicBezTo>
                    <a:pt x="587" y="547"/>
                    <a:pt x="607" y="566"/>
                    <a:pt x="626" y="584"/>
                  </a:cubicBezTo>
                  <a:cubicBezTo>
                    <a:pt x="635" y="593"/>
                    <a:pt x="645" y="601"/>
                    <a:pt x="654" y="610"/>
                  </a:cubicBezTo>
                  <a:cubicBezTo>
                    <a:pt x="668" y="623"/>
                    <a:pt x="668" y="623"/>
                    <a:pt x="668" y="623"/>
                  </a:cubicBezTo>
                  <a:cubicBezTo>
                    <a:pt x="673" y="628"/>
                    <a:pt x="678" y="632"/>
                    <a:pt x="683" y="636"/>
                  </a:cubicBezTo>
                  <a:cubicBezTo>
                    <a:pt x="702" y="654"/>
                    <a:pt x="721" y="671"/>
                    <a:pt x="740" y="689"/>
                  </a:cubicBezTo>
                  <a:cubicBezTo>
                    <a:pt x="759" y="706"/>
                    <a:pt x="777" y="722"/>
                    <a:pt x="796" y="737"/>
                  </a:cubicBezTo>
                  <a:cubicBezTo>
                    <a:pt x="815" y="752"/>
                    <a:pt x="834" y="765"/>
                    <a:pt x="854" y="774"/>
                  </a:cubicBezTo>
                  <a:cubicBezTo>
                    <a:pt x="874" y="784"/>
                    <a:pt x="894" y="789"/>
                    <a:pt x="914" y="790"/>
                  </a:cubicBezTo>
                  <a:cubicBezTo>
                    <a:pt x="934" y="790"/>
                    <a:pt x="954" y="786"/>
                    <a:pt x="973" y="777"/>
                  </a:cubicBezTo>
                  <a:cubicBezTo>
                    <a:pt x="992" y="769"/>
                    <a:pt x="1010" y="758"/>
                    <a:pt x="1027" y="745"/>
                  </a:cubicBezTo>
                  <a:cubicBezTo>
                    <a:pt x="1045" y="733"/>
                    <a:pt x="1061" y="719"/>
                    <a:pt x="1077" y="705"/>
                  </a:cubicBezTo>
                  <a:cubicBezTo>
                    <a:pt x="1093" y="691"/>
                    <a:pt x="1109" y="677"/>
                    <a:pt x="1125" y="663"/>
                  </a:cubicBezTo>
                  <a:cubicBezTo>
                    <a:pt x="1132" y="657"/>
                    <a:pt x="1140" y="650"/>
                    <a:pt x="1148" y="643"/>
                  </a:cubicBezTo>
                  <a:cubicBezTo>
                    <a:pt x="1151" y="640"/>
                    <a:pt x="1155" y="637"/>
                    <a:pt x="1159" y="633"/>
                  </a:cubicBezTo>
                  <a:cubicBezTo>
                    <a:pt x="1163" y="630"/>
                    <a:pt x="1166" y="627"/>
                    <a:pt x="1170" y="624"/>
                  </a:cubicBezTo>
                  <a:cubicBezTo>
                    <a:pt x="1202" y="595"/>
                    <a:pt x="1234" y="564"/>
                    <a:pt x="1269" y="537"/>
                  </a:cubicBezTo>
                  <a:cubicBezTo>
                    <a:pt x="1287" y="523"/>
                    <a:pt x="1305" y="510"/>
                    <a:pt x="1325" y="499"/>
                  </a:cubicBezTo>
                  <a:cubicBezTo>
                    <a:pt x="1344" y="488"/>
                    <a:pt x="1365" y="479"/>
                    <a:pt x="1387" y="472"/>
                  </a:cubicBezTo>
                  <a:cubicBezTo>
                    <a:pt x="1409" y="466"/>
                    <a:pt x="1432" y="463"/>
                    <a:pt x="1455" y="463"/>
                  </a:cubicBezTo>
                  <a:cubicBezTo>
                    <a:pt x="1479" y="464"/>
                    <a:pt x="1503" y="472"/>
                    <a:pt x="1523" y="484"/>
                  </a:cubicBezTo>
                  <a:cubicBezTo>
                    <a:pt x="1543" y="497"/>
                    <a:pt x="1559" y="515"/>
                    <a:pt x="1570" y="535"/>
                  </a:cubicBezTo>
                  <a:cubicBezTo>
                    <a:pt x="1581" y="555"/>
                    <a:pt x="1586" y="578"/>
                    <a:pt x="1586" y="601"/>
                  </a:cubicBezTo>
                  <a:cubicBezTo>
                    <a:pt x="1585" y="635"/>
                    <a:pt x="1585" y="667"/>
                    <a:pt x="1584" y="697"/>
                  </a:cubicBezTo>
                  <a:cubicBezTo>
                    <a:pt x="1584" y="712"/>
                    <a:pt x="1584" y="726"/>
                    <a:pt x="1584" y="740"/>
                  </a:cubicBezTo>
                  <a:cubicBezTo>
                    <a:pt x="1584" y="743"/>
                    <a:pt x="1584" y="747"/>
                    <a:pt x="1583" y="750"/>
                  </a:cubicBezTo>
                  <a:cubicBezTo>
                    <a:pt x="1583" y="753"/>
                    <a:pt x="1584" y="755"/>
                    <a:pt x="1584" y="758"/>
                  </a:cubicBezTo>
                  <a:cubicBezTo>
                    <a:pt x="1584" y="764"/>
                    <a:pt x="1586" y="769"/>
                    <a:pt x="1587" y="774"/>
                  </a:cubicBezTo>
                  <a:cubicBezTo>
                    <a:pt x="1591" y="787"/>
                    <a:pt x="1598" y="799"/>
                    <a:pt x="1606" y="809"/>
                  </a:cubicBezTo>
                  <a:cubicBezTo>
                    <a:pt x="1615" y="819"/>
                    <a:pt x="1624" y="828"/>
                    <a:pt x="1634" y="835"/>
                  </a:cubicBezTo>
                  <a:cubicBezTo>
                    <a:pt x="1639" y="839"/>
                    <a:pt x="1641" y="842"/>
                    <a:pt x="1642" y="843"/>
                  </a:cubicBezTo>
                  <a:cubicBezTo>
                    <a:pt x="1643" y="844"/>
                    <a:pt x="1641" y="845"/>
                    <a:pt x="1637" y="843"/>
                  </a:cubicBezTo>
                  <a:close/>
                  <a:moveTo>
                    <a:pt x="262" y="863"/>
                  </a:moveTo>
                  <a:cubicBezTo>
                    <a:pt x="261" y="867"/>
                    <a:pt x="257" y="871"/>
                    <a:pt x="253" y="872"/>
                  </a:cubicBezTo>
                  <a:cubicBezTo>
                    <a:pt x="245" y="876"/>
                    <a:pt x="235" y="876"/>
                    <a:pt x="225" y="877"/>
                  </a:cubicBezTo>
                  <a:cubicBezTo>
                    <a:pt x="216" y="878"/>
                    <a:pt x="207" y="878"/>
                    <a:pt x="197" y="878"/>
                  </a:cubicBezTo>
                  <a:cubicBezTo>
                    <a:pt x="192" y="879"/>
                    <a:pt x="188" y="879"/>
                    <a:pt x="183" y="879"/>
                  </a:cubicBezTo>
                  <a:cubicBezTo>
                    <a:pt x="178" y="879"/>
                    <a:pt x="173" y="879"/>
                    <a:pt x="168" y="878"/>
                  </a:cubicBezTo>
                  <a:cubicBezTo>
                    <a:pt x="148" y="877"/>
                    <a:pt x="127" y="872"/>
                    <a:pt x="107" y="862"/>
                  </a:cubicBezTo>
                  <a:cubicBezTo>
                    <a:pt x="88" y="853"/>
                    <a:pt x="69" y="840"/>
                    <a:pt x="53" y="822"/>
                  </a:cubicBezTo>
                  <a:cubicBezTo>
                    <a:pt x="45" y="813"/>
                    <a:pt x="38" y="803"/>
                    <a:pt x="33" y="792"/>
                  </a:cubicBezTo>
                  <a:cubicBezTo>
                    <a:pt x="28" y="781"/>
                    <a:pt x="24" y="769"/>
                    <a:pt x="23" y="756"/>
                  </a:cubicBezTo>
                  <a:cubicBezTo>
                    <a:pt x="23" y="753"/>
                    <a:pt x="23" y="750"/>
                    <a:pt x="23" y="747"/>
                  </a:cubicBezTo>
                  <a:cubicBezTo>
                    <a:pt x="23" y="744"/>
                    <a:pt x="23" y="741"/>
                    <a:pt x="23" y="738"/>
                  </a:cubicBezTo>
                  <a:cubicBezTo>
                    <a:pt x="23" y="732"/>
                    <a:pt x="23" y="726"/>
                    <a:pt x="22" y="720"/>
                  </a:cubicBezTo>
                  <a:cubicBezTo>
                    <a:pt x="22" y="708"/>
                    <a:pt x="22" y="696"/>
                    <a:pt x="22" y="684"/>
                  </a:cubicBezTo>
                  <a:cubicBezTo>
                    <a:pt x="22" y="585"/>
                    <a:pt x="21" y="480"/>
                    <a:pt x="21" y="372"/>
                  </a:cubicBezTo>
                  <a:cubicBezTo>
                    <a:pt x="21" y="319"/>
                    <a:pt x="21" y="265"/>
                    <a:pt x="21" y="211"/>
                  </a:cubicBezTo>
                  <a:cubicBezTo>
                    <a:pt x="22" y="156"/>
                    <a:pt x="22" y="65"/>
                    <a:pt x="22" y="48"/>
                  </a:cubicBezTo>
                  <a:cubicBezTo>
                    <a:pt x="22" y="30"/>
                    <a:pt x="34" y="18"/>
                    <a:pt x="52" y="18"/>
                  </a:cubicBezTo>
                  <a:cubicBezTo>
                    <a:pt x="70" y="18"/>
                    <a:pt x="121" y="19"/>
                    <a:pt x="155" y="19"/>
                  </a:cubicBezTo>
                  <a:cubicBezTo>
                    <a:pt x="167" y="19"/>
                    <a:pt x="180" y="19"/>
                    <a:pt x="192" y="19"/>
                  </a:cubicBezTo>
                  <a:cubicBezTo>
                    <a:pt x="198" y="19"/>
                    <a:pt x="204" y="19"/>
                    <a:pt x="210" y="19"/>
                  </a:cubicBezTo>
                  <a:cubicBezTo>
                    <a:pt x="217" y="19"/>
                    <a:pt x="223" y="19"/>
                    <a:pt x="229" y="20"/>
                  </a:cubicBezTo>
                  <a:cubicBezTo>
                    <a:pt x="254" y="22"/>
                    <a:pt x="277" y="29"/>
                    <a:pt x="298" y="38"/>
                  </a:cubicBezTo>
                  <a:cubicBezTo>
                    <a:pt x="319" y="47"/>
                    <a:pt x="338" y="59"/>
                    <a:pt x="354" y="72"/>
                  </a:cubicBezTo>
                  <a:cubicBezTo>
                    <a:pt x="358" y="76"/>
                    <a:pt x="362" y="79"/>
                    <a:pt x="365" y="83"/>
                  </a:cubicBezTo>
                  <a:cubicBezTo>
                    <a:pt x="369" y="86"/>
                    <a:pt x="373" y="90"/>
                    <a:pt x="376" y="93"/>
                  </a:cubicBezTo>
                  <a:cubicBezTo>
                    <a:pt x="383" y="100"/>
                    <a:pt x="390" y="106"/>
                    <a:pt x="397" y="113"/>
                  </a:cubicBezTo>
                  <a:cubicBezTo>
                    <a:pt x="450" y="164"/>
                    <a:pt x="491" y="204"/>
                    <a:pt x="515" y="229"/>
                  </a:cubicBezTo>
                  <a:cubicBezTo>
                    <a:pt x="523" y="236"/>
                    <a:pt x="528" y="242"/>
                    <a:pt x="531" y="246"/>
                  </a:cubicBezTo>
                  <a:cubicBezTo>
                    <a:pt x="538" y="254"/>
                    <a:pt x="537" y="254"/>
                    <a:pt x="528" y="247"/>
                  </a:cubicBezTo>
                  <a:cubicBezTo>
                    <a:pt x="523" y="243"/>
                    <a:pt x="517" y="238"/>
                    <a:pt x="508" y="231"/>
                  </a:cubicBezTo>
                  <a:cubicBezTo>
                    <a:pt x="499" y="224"/>
                    <a:pt x="450" y="180"/>
                    <a:pt x="385" y="120"/>
                  </a:cubicBezTo>
                  <a:cubicBezTo>
                    <a:pt x="375" y="110"/>
                    <a:pt x="364" y="100"/>
                    <a:pt x="353" y="90"/>
                  </a:cubicBezTo>
                  <a:cubicBezTo>
                    <a:pt x="342" y="80"/>
                    <a:pt x="331" y="72"/>
                    <a:pt x="318" y="64"/>
                  </a:cubicBezTo>
                  <a:cubicBezTo>
                    <a:pt x="294" y="50"/>
                    <a:pt x="266" y="40"/>
                    <a:pt x="237" y="36"/>
                  </a:cubicBezTo>
                  <a:cubicBezTo>
                    <a:pt x="230" y="35"/>
                    <a:pt x="222" y="35"/>
                    <a:pt x="215" y="34"/>
                  </a:cubicBezTo>
                  <a:cubicBezTo>
                    <a:pt x="208" y="34"/>
                    <a:pt x="200" y="34"/>
                    <a:pt x="192" y="34"/>
                  </a:cubicBezTo>
                  <a:cubicBezTo>
                    <a:pt x="177" y="34"/>
                    <a:pt x="162" y="34"/>
                    <a:pt x="147" y="34"/>
                  </a:cubicBezTo>
                  <a:cubicBezTo>
                    <a:pt x="122" y="35"/>
                    <a:pt x="61" y="34"/>
                    <a:pt x="58" y="34"/>
                  </a:cubicBezTo>
                  <a:cubicBezTo>
                    <a:pt x="41" y="35"/>
                    <a:pt x="39" y="41"/>
                    <a:pt x="39" y="54"/>
                  </a:cubicBezTo>
                  <a:cubicBezTo>
                    <a:pt x="39" y="67"/>
                    <a:pt x="39" y="176"/>
                    <a:pt x="39" y="236"/>
                  </a:cubicBezTo>
                  <a:cubicBezTo>
                    <a:pt x="40" y="297"/>
                    <a:pt x="40" y="357"/>
                    <a:pt x="40" y="417"/>
                  </a:cubicBezTo>
                  <a:cubicBezTo>
                    <a:pt x="41" y="490"/>
                    <a:pt x="41" y="570"/>
                    <a:pt x="41" y="648"/>
                  </a:cubicBezTo>
                  <a:cubicBezTo>
                    <a:pt x="41" y="667"/>
                    <a:pt x="41" y="686"/>
                    <a:pt x="40" y="705"/>
                  </a:cubicBezTo>
                  <a:cubicBezTo>
                    <a:pt x="40" y="715"/>
                    <a:pt x="40" y="724"/>
                    <a:pt x="40" y="734"/>
                  </a:cubicBezTo>
                  <a:cubicBezTo>
                    <a:pt x="40" y="738"/>
                    <a:pt x="40" y="743"/>
                    <a:pt x="40" y="748"/>
                  </a:cubicBezTo>
                  <a:cubicBezTo>
                    <a:pt x="40" y="752"/>
                    <a:pt x="40" y="756"/>
                    <a:pt x="41" y="760"/>
                  </a:cubicBezTo>
                  <a:cubicBezTo>
                    <a:pt x="43" y="776"/>
                    <a:pt x="50" y="791"/>
                    <a:pt x="59" y="804"/>
                  </a:cubicBezTo>
                  <a:cubicBezTo>
                    <a:pt x="69" y="817"/>
                    <a:pt x="80" y="827"/>
                    <a:pt x="93" y="836"/>
                  </a:cubicBezTo>
                  <a:cubicBezTo>
                    <a:pt x="106" y="846"/>
                    <a:pt x="122" y="853"/>
                    <a:pt x="138" y="859"/>
                  </a:cubicBezTo>
                  <a:cubicBezTo>
                    <a:pt x="146" y="861"/>
                    <a:pt x="154" y="863"/>
                    <a:pt x="162" y="864"/>
                  </a:cubicBezTo>
                  <a:cubicBezTo>
                    <a:pt x="167" y="865"/>
                    <a:pt x="171" y="865"/>
                    <a:pt x="175" y="865"/>
                  </a:cubicBezTo>
                  <a:cubicBezTo>
                    <a:pt x="179" y="865"/>
                    <a:pt x="184" y="865"/>
                    <a:pt x="188" y="865"/>
                  </a:cubicBezTo>
                  <a:cubicBezTo>
                    <a:pt x="205" y="865"/>
                    <a:pt x="225" y="865"/>
                    <a:pt x="237" y="864"/>
                  </a:cubicBezTo>
                  <a:cubicBezTo>
                    <a:pt x="239" y="863"/>
                    <a:pt x="241" y="863"/>
                    <a:pt x="243" y="863"/>
                  </a:cubicBezTo>
                  <a:cubicBezTo>
                    <a:pt x="244" y="862"/>
                    <a:pt x="246" y="862"/>
                    <a:pt x="248" y="861"/>
                  </a:cubicBezTo>
                  <a:cubicBezTo>
                    <a:pt x="251" y="859"/>
                    <a:pt x="252" y="855"/>
                    <a:pt x="253" y="852"/>
                  </a:cubicBezTo>
                  <a:cubicBezTo>
                    <a:pt x="253" y="848"/>
                    <a:pt x="253" y="845"/>
                    <a:pt x="253" y="841"/>
                  </a:cubicBezTo>
                  <a:cubicBezTo>
                    <a:pt x="253" y="830"/>
                    <a:pt x="253" y="830"/>
                    <a:pt x="253" y="830"/>
                  </a:cubicBezTo>
                  <a:cubicBezTo>
                    <a:pt x="253" y="799"/>
                    <a:pt x="254" y="772"/>
                    <a:pt x="254" y="748"/>
                  </a:cubicBezTo>
                  <a:cubicBezTo>
                    <a:pt x="255" y="734"/>
                    <a:pt x="255" y="720"/>
                    <a:pt x="256" y="708"/>
                  </a:cubicBezTo>
                  <a:cubicBezTo>
                    <a:pt x="257" y="695"/>
                    <a:pt x="259" y="704"/>
                    <a:pt x="261" y="731"/>
                  </a:cubicBezTo>
                  <a:cubicBezTo>
                    <a:pt x="261" y="740"/>
                    <a:pt x="262" y="752"/>
                    <a:pt x="262" y="765"/>
                  </a:cubicBezTo>
                  <a:cubicBezTo>
                    <a:pt x="263" y="777"/>
                    <a:pt x="263" y="790"/>
                    <a:pt x="263" y="804"/>
                  </a:cubicBezTo>
                  <a:cubicBezTo>
                    <a:pt x="263" y="811"/>
                    <a:pt x="264" y="818"/>
                    <a:pt x="264" y="826"/>
                  </a:cubicBezTo>
                  <a:cubicBezTo>
                    <a:pt x="264" y="833"/>
                    <a:pt x="264" y="841"/>
                    <a:pt x="264" y="850"/>
                  </a:cubicBezTo>
                  <a:cubicBezTo>
                    <a:pt x="264" y="854"/>
                    <a:pt x="264" y="859"/>
                    <a:pt x="262" y="863"/>
                  </a:cubicBezTo>
                  <a:close/>
                  <a:moveTo>
                    <a:pt x="694" y="671"/>
                  </a:moveTo>
                  <a:cubicBezTo>
                    <a:pt x="688" y="665"/>
                    <a:pt x="682" y="659"/>
                    <a:pt x="675" y="653"/>
                  </a:cubicBezTo>
                  <a:cubicBezTo>
                    <a:pt x="668" y="646"/>
                    <a:pt x="660" y="640"/>
                    <a:pt x="653" y="633"/>
                  </a:cubicBezTo>
                  <a:cubicBezTo>
                    <a:pt x="637" y="618"/>
                    <a:pt x="621" y="602"/>
                    <a:pt x="604" y="586"/>
                  </a:cubicBezTo>
                  <a:cubicBezTo>
                    <a:pt x="584" y="567"/>
                    <a:pt x="563" y="548"/>
                    <a:pt x="540" y="531"/>
                  </a:cubicBezTo>
                  <a:cubicBezTo>
                    <a:pt x="518" y="515"/>
                    <a:pt x="494" y="499"/>
                    <a:pt x="467" y="488"/>
                  </a:cubicBezTo>
                  <a:cubicBezTo>
                    <a:pt x="441" y="477"/>
                    <a:pt x="411" y="469"/>
                    <a:pt x="381" y="469"/>
                  </a:cubicBezTo>
                  <a:cubicBezTo>
                    <a:pt x="374" y="469"/>
                    <a:pt x="366" y="469"/>
                    <a:pt x="358" y="470"/>
                  </a:cubicBezTo>
                  <a:cubicBezTo>
                    <a:pt x="350" y="471"/>
                    <a:pt x="343" y="473"/>
                    <a:pt x="335" y="476"/>
                  </a:cubicBezTo>
                  <a:cubicBezTo>
                    <a:pt x="321" y="480"/>
                    <a:pt x="307" y="488"/>
                    <a:pt x="296" y="497"/>
                  </a:cubicBezTo>
                  <a:cubicBezTo>
                    <a:pt x="273" y="515"/>
                    <a:pt x="256" y="542"/>
                    <a:pt x="249" y="572"/>
                  </a:cubicBezTo>
                  <a:cubicBezTo>
                    <a:pt x="247" y="580"/>
                    <a:pt x="246" y="588"/>
                    <a:pt x="246" y="595"/>
                  </a:cubicBezTo>
                  <a:cubicBezTo>
                    <a:pt x="246" y="597"/>
                    <a:pt x="246" y="599"/>
                    <a:pt x="246" y="601"/>
                  </a:cubicBezTo>
                  <a:cubicBezTo>
                    <a:pt x="246" y="606"/>
                    <a:pt x="246" y="606"/>
                    <a:pt x="246" y="606"/>
                  </a:cubicBezTo>
                  <a:cubicBezTo>
                    <a:pt x="246" y="610"/>
                    <a:pt x="246" y="613"/>
                    <a:pt x="246" y="617"/>
                  </a:cubicBezTo>
                  <a:cubicBezTo>
                    <a:pt x="246" y="631"/>
                    <a:pt x="246" y="645"/>
                    <a:pt x="245" y="660"/>
                  </a:cubicBezTo>
                  <a:cubicBezTo>
                    <a:pt x="245" y="717"/>
                    <a:pt x="245" y="776"/>
                    <a:pt x="244" y="836"/>
                  </a:cubicBezTo>
                  <a:cubicBezTo>
                    <a:pt x="244" y="843"/>
                    <a:pt x="244" y="843"/>
                    <a:pt x="244" y="843"/>
                  </a:cubicBezTo>
                  <a:cubicBezTo>
                    <a:pt x="244" y="845"/>
                    <a:pt x="244" y="847"/>
                    <a:pt x="243" y="849"/>
                  </a:cubicBezTo>
                  <a:cubicBezTo>
                    <a:pt x="243" y="851"/>
                    <a:pt x="241" y="853"/>
                    <a:pt x="239" y="854"/>
                  </a:cubicBezTo>
                  <a:cubicBezTo>
                    <a:pt x="237" y="855"/>
                    <a:pt x="235" y="855"/>
                    <a:pt x="233" y="855"/>
                  </a:cubicBezTo>
                  <a:cubicBezTo>
                    <a:pt x="231" y="856"/>
                    <a:pt x="228" y="856"/>
                    <a:pt x="226" y="856"/>
                  </a:cubicBezTo>
                  <a:cubicBezTo>
                    <a:pt x="223" y="856"/>
                    <a:pt x="223" y="856"/>
                    <a:pt x="223" y="856"/>
                  </a:cubicBezTo>
                  <a:cubicBezTo>
                    <a:pt x="217" y="856"/>
                    <a:pt x="217" y="856"/>
                    <a:pt x="217" y="856"/>
                  </a:cubicBezTo>
                  <a:cubicBezTo>
                    <a:pt x="210" y="857"/>
                    <a:pt x="203" y="857"/>
                    <a:pt x="195" y="857"/>
                  </a:cubicBezTo>
                  <a:cubicBezTo>
                    <a:pt x="184" y="857"/>
                    <a:pt x="184" y="857"/>
                    <a:pt x="184" y="857"/>
                  </a:cubicBezTo>
                  <a:cubicBezTo>
                    <a:pt x="178" y="857"/>
                    <a:pt x="178" y="857"/>
                    <a:pt x="178" y="857"/>
                  </a:cubicBezTo>
                  <a:cubicBezTo>
                    <a:pt x="176" y="857"/>
                    <a:pt x="175" y="857"/>
                    <a:pt x="173" y="857"/>
                  </a:cubicBezTo>
                  <a:cubicBezTo>
                    <a:pt x="166" y="856"/>
                    <a:pt x="160" y="856"/>
                    <a:pt x="153" y="854"/>
                  </a:cubicBezTo>
                  <a:cubicBezTo>
                    <a:pt x="140" y="851"/>
                    <a:pt x="126" y="847"/>
                    <a:pt x="114" y="840"/>
                  </a:cubicBezTo>
                  <a:cubicBezTo>
                    <a:pt x="90" y="828"/>
                    <a:pt x="68" y="809"/>
                    <a:pt x="56" y="786"/>
                  </a:cubicBezTo>
                  <a:cubicBezTo>
                    <a:pt x="50" y="775"/>
                    <a:pt x="46" y="763"/>
                    <a:pt x="46" y="750"/>
                  </a:cubicBezTo>
                  <a:cubicBezTo>
                    <a:pt x="46" y="736"/>
                    <a:pt x="46" y="721"/>
                    <a:pt x="46" y="706"/>
                  </a:cubicBezTo>
                  <a:cubicBezTo>
                    <a:pt x="45" y="601"/>
                    <a:pt x="45" y="492"/>
                    <a:pt x="44" y="382"/>
                  </a:cubicBezTo>
                  <a:cubicBezTo>
                    <a:pt x="44" y="274"/>
                    <a:pt x="43" y="75"/>
                    <a:pt x="43" y="56"/>
                  </a:cubicBezTo>
                  <a:cubicBezTo>
                    <a:pt x="43" y="50"/>
                    <a:pt x="45" y="45"/>
                    <a:pt x="47" y="43"/>
                  </a:cubicBezTo>
                  <a:cubicBezTo>
                    <a:pt x="50" y="40"/>
                    <a:pt x="57" y="39"/>
                    <a:pt x="60" y="39"/>
                  </a:cubicBezTo>
                  <a:cubicBezTo>
                    <a:pt x="66" y="39"/>
                    <a:pt x="144" y="39"/>
                    <a:pt x="186" y="39"/>
                  </a:cubicBezTo>
                  <a:cubicBezTo>
                    <a:pt x="202" y="39"/>
                    <a:pt x="202" y="39"/>
                    <a:pt x="202" y="39"/>
                  </a:cubicBezTo>
                  <a:cubicBezTo>
                    <a:pt x="207" y="39"/>
                    <a:pt x="213" y="39"/>
                    <a:pt x="218" y="39"/>
                  </a:cubicBezTo>
                  <a:cubicBezTo>
                    <a:pt x="228" y="39"/>
                    <a:pt x="238" y="41"/>
                    <a:pt x="248" y="42"/>
                  </a:cubicBezTo>
                  <a:cubicBezTo>
                    <a:pt x="268" y="46"/>
                    <a:pt x="287" y="53"/>
                    <a:pt x="305" y="62"/>
                  </a:cubicBezTo>
                  <a:cubicBezTo>
                    <a:pt x="323" y="71"/>
                    <a:pt x="340" y="83"/>
                    <a:pt x="354" y="97"/>
                  </a:cubicBezTo>
                  <a:cubicBezTo>
                    <a:pt x="370" y="111"/>
                    <a:pt x="385" y="126"/>
                    <a:pt x="400" y="140"/>
                  </a:cubicBezTo>
                  <a:cubicBezTo>
                    <a:pt x="431" y="168"/>
                    <a:pt x="461" y="196"/>
                    <a:pt x="490" y="224"/>
                  </a:cubicBezTo>
                  <a:cubicBezTo>
                    <a:pt x="503" y="235"/>
                    <a:pt x="515" y="247"/>
                    <a:pt x="527" y="257"/>
                  </a:cubicBezTo>
                  <a:cubicBezTo>
                    <a:pt x="532" y="263"/>
                    <a:pt x="538" y="268"/>
                    <a:pt x="544" y="273"/>
                  </a:cubicBezTo>
                  <a:cubicBezTo>
                    <a:pt x="545" y="274"/>
                    <a:pt x="547" y="276"/>
                    <a:pt x="548" y="277"/>
                  </a:cubicBezTo>
                  <a:cubicBezTo>
                    <a:pt x="550" y="279"/>
                    <a:pt x="550" y="279"/>
                    <a:pt x="550" y="279"/>
                  </a:cubicBezTo>
                  <a:cubicBezTo>
                    <a:pt x="552" y="280"/>
                    <a:pt x="552" y="280"/>
                    <a:pt x="552" y="280"/>
                  </a:cubicBezTo>
                  <a:cubicBezTo>
                    <a:pt x="554" y="283"/>
                    <a:pt x="557" y="286"/>
                    <a:pt x="560" y="288"/>
                  </a:cubicBezTo>
                  <a:cubicBezTo>
                    <a:pt x="581" y="308"/>
                    <a:pt x="603" y="324"/>
                    <a:pt x="621" y="336"/>
                  </a:cubicBezTo>
                  <a:cubicBezTo>
                    <a:pt x="640" y="348"/>
                    <a:pt x="656" y="357"/>
                    <a:pt x="669" y="363"/>
                  </a:cubicBezTo>
                  <a:cubicBezTo>
                    <a:pt x="681" y="369"/>
                    <a:pt x="690" y="372"/>
                    <a:pt x="694" y="374"/>
                  </a:cubicBezTo>
                  <a:cubicBezTo>
                    <a:pt x="710" y="380"/>
                    <a:pt x="722" y="384"/>
                    <a:pt x="731" y="386"/>
                  </a:cubicBezTo>
                  <a:cubicBezTo>
                    <a:pt x="739" y="388"/>
                    <a:pt x="744" y="389"/>
                    <a:pt x="745" y="388"/>
                  </a:cubicBezTo>
                  <a:cubicBezTo>
                    <a:pt x="745" y="388"/>
                    <a:pt x="742" y="386"/>
                    <a:pt x="735" y="383"/>
                  </a:cubicBezTo>
                  <a:cubicBezTo>
                    <a:pt x="728" y="379"/>
                    <a:pt x="719" y="375"/>
                    <a:pt x="703" y="367"/>
                  </a:cubicBezTo>
                  <a:cubicBezTo>
                    <a:pt x="683" y="357"/>
                    <a:pt x="653" y="341"/>
                    <a:pt x="620" y="316"/>
                  </a:cubicBezTo>
                  <a:cubicBezTo>
                    <a:pt x="604" y="304"/>
                    <a:pt x="586" y="289"/>
                    <a:pt x="569" y="272"/>
                  </a:cubicBezTo>
                  <a:cubicBezTo>
                    <a:pt x="567" y="270"/>
                    <a:pt x="564" y="267"/>
                    <a:pt x="562" y="265"/>
                  </a:cubicBezTo>
                  <a:cubicBezTo>
                    <a:pt x="560" y="263"/>
                    <a:pt x="557" y="261"/>
                    <a:pt x="555" y="258"/>
                  </a:cubicBezTo>
                  <a:cubicBezTo>
                    <a:pt x="550" y="254"/>
                    <a:pt x="546" y="249"/>
                    <a:pt x="541" y="245"/>
                  </a:cubicBezTo>
                  <a:cubicBezTo>
                    <a:pt x="531" y="235"/>
                    <a:pt x="521" y="226"/>
                    <a:pt x="511" y="216"/>
                  </a:cubicBezTo>
                  <a:cubicBezTo>
                    <a:pt x="469" y="176"/>
                    <a:pt x="423" y="131"/>
                    <a:pt x="372" y="83"/>
                  </a:cubicBezTo>
                  <a:cubicBezTo>
                    <a:pt x="366" y="77"/>
                    <a:pt x="359" y="70"/>
                    <a:pt x="352" y="64"/>
                  </a:cubicBezTo>
                  <a:cubicBezTo>
                    <a:pt x="344" y="59"/>
                    <a:pt x="336" y="53"/>
                    <a:pt x="328" y="48"/>
                  </a:cubicBezTo>
                  <a:cubicBezTo>
                    <a:pt x="312" y="38"/>
                    <a:pt x="294" y="30"/>
                    <a:pt x="275" y="25"/>
                  </a:cubicBezTo>
                  <a:cubicBezTo>
                    <a:pt x="257" y="19"/>
                    <a:pt x="237" y="15"/>
                    <a:pt x="216" y="15"/>
                  </a:cubicBezTo>
                  <a:cubicBezTo>
                    <a:pt x="212" y="14"/>
                    <a:pt x="212" y="14"/>
                    <a:pt x="212" y="14"/>
                  </a:cubicBezTo>
                  <a:cubicBezTo>
                    <a:pt x="209" y="14"/>
                    <a:pt x="209" y="14"/>
                    <a:pt x="209" y="14"/>
                  </a:cubicBezTo>
                  <a:cubicBezTo>
                    <a:pt x="202" y="14"/>
                    <a:pt x="202" y="14"/>
                    <a:pt x="202" y="14"/>
                  </a:cubicBezTo>
                  <a:cubicBezTo>
                    <a:pt x="197" y="14"/>
                    <a:pt x="192" y="14"/>
                    <a:pt x="187" y="14"/>
                  </a:cubicBezTo>
                  <a:cubicBezTo>
                    <a:pt x="177" y="14"/>
                    <a:pt x="167" y="14"/>
                    <a:pt x="157" y="14"/>
                  </a:cubicBezTo>
                  <a:cubicBezTo>
                    <a:pt x="122" y="14"/>
                    <a:pt x="80" y="13"/>
                    <a:pt x="50" y="13"/>
                  </a:cubicBezTo>
                  <a:cubicBezTo>
                    <a:pt x="32" y="13"/>
                    <a:pt x="17" y="23"/>
                    <a:pt x="17" y="46"/>
                  </a:cubicBezTo>
                  <a:cubicBezTo>
                    <a:pt x="17" y="59"/>
                    <a:pt x="17" y="87"/>
                    <a:pt x="17" y="108"/>
                  </a:cubicBezTo>
                  <a:cubicBezTo>
                    <a:pt x="16" y="278"/>
                    <a:pt x="16" y="456"/>
                    <a:pt x="16" y="632"/>
                  </a:cubicBezTo>
                  <a:cubicBezTo>
                    <a:pt x="16" y="653"/>
                    <a:pt x="16" y="675"/>
                    <a:pt x="16" y="697"/>
                  </a:cubicBezTo>
                  <a:cubicBezTo>
                    <a:pt x="16" y="708"/>
                    <a:pt x="16" y="719"/>
                    <a:pt x="16" y="730"/>
                  </a:cubicBezTo>
                  <a:cubicBezTo>
                    <a:pt x="16" y="746"/>
                    <a:pt x="16" y="746"/>
                    <a:pt x="16" y="746"/>
                  </a:cubicBezTo>
                  <a:cubicBezTo>
                    <a:pt x="16" y="750"/>
                    <a:pt x="16" y="750"/>
                    <a:pt x="16" y="750"/>
                  </a:cubicBezTo>
                  <a:cubicBezTo>
                    <a:pt x="16" y="752"/>
                    <a:pt x="16" y="753"/>
                    <a:pt x="16" y="755"/>
                  </a:cubicBezTo>
                  <a:cubicBezTo>
                    <a:pt x="16" y="758"/>
                    <a:pt x="17" y="761"/>
                    <a:pt x="17" y="764"/>
                  </a:cubicBezTo>
                  <a:cubicBezTo>
                    <a:pt x="19" y="776"/>
                    <a:pt x="23" y="788"/>
                    <a:pt x="28" y="799"/>
                  </a:cubicBezTo>
                  <a:cubicBezTo>
                    <a:pt x="34" y="810"/>
                    <a:pt x="41" y="820"/>
                    <a:pt x="49" y="828"/>
                  </a:cubicBezTo>
                  <a:cubicBezTo>
                    <a:pt x="65" y="846"/>
                    <a:pt x="84" y="859"/>
                    <a:pt x="104" y="869"/>
                  </a:cubicBezTo>
                  <a:cubicBezTo>
                    <a:pt x="125" y="879"/>
                    <a:pt x="147" y="886"/>
                    <a:pt x="170" y="887"/>
                  </a:cubicBezTo>
                  <a:cubicBezTo>
                    <a:pt x="173" y="887"/>
                    <a:pt x="176" y="887"/>
                    <a:pt x="179" y="887"/>
                  </a:cubicBezTo>
                  <a:cubicBezTo>
                    <a:pt x="187" y="887"/>
                    <a:pt x="187" y="887"/>
                    <a:pt x="187" y="887"/>
                  </a:cubicBezTo>
                  <a:cubicBezTo>
                    <a:pt x="192" y="887"/>
                    <a:pt x="197" y="887"/>
                    <a:pt x="202" y="887"/>
                  </a:cubicBezTo>
                  <a:cubicBezTo>
                    <a:pt x="208" y="887"/>
                    <a:pt x="213" y="887"/>
                    <a:pt x="218" y="886"/>
                  </a:cubicBezTo>
                  <a:cubicBezTo>
                    <a:pt x="227" y="886"/>
                    <a:pt x="227" y="886"/>
                    <a:pt x="227" y="886"/>
                  </a:cubicBezTo>
                  <a:cubicBezTo>
                    <a:pt x="230" y="886"/>
                    <a:pt x="234" y="885"/>
                    <a:pt x="237" y="885"/>
                  </a:cubicBezTo>
                  <a:cubicBezTo>
                    <a:pt x="244" y="884"/>
                    <a:pt x="251" y="883"/>
                    <a:pt x="257" y="881"/>
                  </a:cubicBezTo>
                  <a:cubicBezTo>
                    <a:pt x="263" y="879"/>
                    <a:pt x="268" y="874"/>
                    <a:pt x="270" y="868"/>
                  </a:cubicBezTo>
                  <a:cubicBezTo>
                    <a:pt x="273" y="862"/>
                    <a:pt x="274" y="856"/>
                    <a:pt x="274" y="849"/>
                  </a:cubicBezTo>
                  <a:cubicBezTo>
                    <a:pt x="274" y="839"/>
                    <a:pt x="274" y="839"/>
                    <a:pt x="274" y="839"/>
                  </a:cubicBezTo>
                  <a:cubicBezTo>
                    <a:pt x="274" y="834"/>
                    <a:pt x="274" y="834"/>
                    <a:pt x="274" y="834"/>
                  </a:cubicBezTo>
                  <a:cubicBezTo>
                    <a:pt x="274" y="830"/>
                    <a:pt x="274" y="830"/>
                    <a:pt x="274" y="830"/>
                  </a:cubicBezTo>
                  <a:cubicBezTo>
                    <a:pt x="274" y="810"/>
                    <a:pt x="273" y="789"/>
                    <a:pt x="273" y="770"/>
                  </a:cubicBezTo>
                  <a:cubicBezTo>
                    <a:pt x="273" y="730"/>
                    <a:pt x="273" y="691"/>
                    <a:pt x="273" y="653"/>
                  </a:cubicBezTo>
                  <a:cubicBezTo>
                    <a:pt x="272" y="635"/>
                    <a:pt x="272" y="616"/>
                    <a:pt x="272" y="598"/>
                  </a:cubicBezTo>
                  <a:cubicBezTo>
                    <a:pt x="272" y="581"/>
                    <a:pt x="277" y="565"/>
                    <a:pt x="284" y="550"/>
                  </a:cubicBezTo>
                  <a:cubicBezTo>
                    <a:pt x="291" y="536"/>
                    <a:pt x="302" y="523"/>
                    <a:pt x="314" y="514"/>
                  </a:cubicBezTo>
                  <a:cubicBezTo>
                    <a:pt x="327" y="504"/>
                    <a:pt x="341" y="497"/>
                    <a:pt x="355" y="494"/>
                  </a:cubicBezTo>
                  <a:cubicBezTo>
                    <a:pt x="363" y="492"/>
                    <a:pt x="370" y="492"/>
                    <a:pt x="378" y="491"/>
                  </a:cubicBezTo>
                  <a:cubicBezTo>
                    <a:pt x="385" y="491"/>
                    <a:pt x="393" y="492"/>
                    <a:pt x="401" y="492"/>
                  </a:cubicBezTo>
                  <a:cubicBezTo>
                    <a:pt x="416" y="494"/>
                    <a:pt x="430" y="497"/>
                    <a:pt x="444" y="502"/>
                  </a:cubicBezTo>
                  <a:cubicBezTo>
                    <a:pt x="472" y="511"/>
                    <a:pt x="497" y="525"/>
                    <a:pt x="519" y="539"/>
                  </a:cubicBezTo>
                  <a:cubicBezTo>
                    <a:pt x="541" y="554"/>
                    <a:pt x="560" y="570"/>
                    <a:pt x="578" y="585"/>
                  </a:cubicBezTo>
                  <a:cubicBezTo>
                    <a:pt x="596" y="601"/>
                    <a:pt x="612" y="615"/>
                    <a:pt x="627" y="628"/>
                  </a:cubicBezTo>
                  <a:cubicBezTo>
                    <a:pt x="641" y="642"/>
                    <a:pt x="655" y="653"/>
                    <a:pt x="667" y="663"/>
                  </a:cubicBezTo>
                  <a:cubicBezTo>
                    <a:pt x="685" y="678"/>
                    <a:pt x="696" y="687"/>
                    <a:pt x="707" y="696"/>
                  </a:cubicBezTo>
                  <a:cubicBezTo>
                    <a:pt x="740" y="722"/>
                    <a:pt x="751" y="728"/>
                    <a:pt x="738" y="714"/>
                  </a:cubicBezTo>
                  <a:cubicBezTo>
                    <a:pt x="725" y="701"/>
                    <a:pt x="712" y="688"/>
                    <a:pt x="694" y="67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57018731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8" name="Rechteck 37">
            <a:extLst>
              <a:ext uri="{FF2B5EF4-FFF2-40B4-BE49-F238E27FC236}">
                <a16:creationId xmlns:a16="http://schemas.microsoft.com/office/drawing/2014/main" id="{72E51C3F-45BF-4228-9D36-14DF5EDD2289}"/>
              </a:ext>
            </a:extLst>
          </p:cNvPr>
          <p:cNvSpPr/>
          <p:nvPr userDrawn="1"/>
        </p:nvSpPr>
        <p:spPr bwMode="gray">
          <a:xfrm>
            <a:off x="0" y="0"/>
            <a:ext cx="12192000" cy="6858000"/>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sp>
        <p:nvSpPr>
          <p:cNvPr id="44" name="Freihandform: Form 43">
            <a:extLst>
              <a:ext uri="{FF2B5EF4-FFF2-40B4-BE49-F238E27FC236}">
                <a16:creationId xmlns:a16="http://schemas.microsoft.com/office/drawing/2014/main" id="{3C87FA55-4415-48DB-86EA-2E1D69DD0043}"/>
              </a:ext>
            </a:extLst>
          </p:cNvPr>
          <p:cNvSpPr>
            <a:spLocks/>
          </p:cNvSpPr>
          <p:nvPr userDrawn="1"/>
        </p:nvSpPr>
        <p:spPr bwMode="auto">
          <a:xfrm>
            <a:off x="8590554" y="5347530"/>
            <a:ext cx="3601445" cy="1510470"/>
          </a:xfrm>
          <a:custGeom>
            <a:avLst/>
            <a:gdLst>
              <a:gd name="connsiteX0" fmla="*/ 1419798 w 3633180"/>
              <a:gd name="connsiteY0" fmla="*/ 61 h 1510470"/>
              <a:gd name="connsiteX1" fmla="*/ 2252069 w 3633180"/>
              <a:gd name="connsiteY1" fmla="*/ 78281 h 1510470"/>
              <a:gd name="connsiteX2" fmla="*/ 3598836 w 3633180"/>
              <a:gd name="connsiteY2" fmla="*/ 305954 h 1510470"/>
              <a:gd name="connsiteX3" fmla="*/ 3633180 w 3633180"/>
              <a:gd name="connsiteY3" fmla="*/ 311854 h 1510470"/>
              <a:gd name="connsiteX4" fmla="*/ 3633180 w 3633180"/>
              <a:gd name="connsiteY4" fmla="*/ 1510470 h 1510470"/>
              <a:gd name="connsiteX5" fmla="*/ 0 w 3633180"/>
              <a:gd name="connsiteY5" fmla="*/ 1510470 h 1510470"/>
              <a:gd name="connsiteX6" fmla="*/ 52435 w 3633180"/>
              <a:gd name="connsiteY6" fmla="*/ 1324194 h 1510470"/>
              <a:gd name="connsiteX7" fmla="*/ 225377 w 3633180"/>
              <a:gd name="connsiteY7" fmla="*/ 705469 h 1510470"/>
              <a:gd name="connsiteX8" fmla="*/ 1419798 w 3633180"/>
              <a:gd name="connsiteY8" fmla="*/ 61 h 151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3180" h="1510470">
                <a:moveTo>
                  <a:pt x="1419798" y="61"/>
                </a:moveTo>
                <a:cubicBezTo>
                  <a:pt x="1680922" y="-1590"/>
                  <a:pt x="1964637" y="30767"/>
                  <a:pt x="2252069" y="78281"/>
                </a:cubicBezTo>
                <a:cubicBezTo>
                  <a:pt x="2535933" y="124212"/>
                  <a:pt x="3102867" y="220824"/>
                  <a:pt x="3598836" y="305954"/>
                </a:cubicBezTo>
                <a:lnTo>
                  <a:pt x="3633180" y="311854"/>
                </a:lnTo>
                <a:lnTo>
                  <a:pt x="3633180" y="1510470"/>
                </a:lnTo>
                <a:lnTo>
                  <a:pt x="0" y="1510470"/>
                </a:lnTo>
                <a:lnTo>
                  <a:pt x="52435" y="1324194"/>
                </a:lnTo>
                <a:cubicBezTo>
                  <a:pt x="154461" y="961155"/>
                  <a:pt x="225377" y="705469"/>
                  <a:pt x="225377" y="705469"/>
                </a:cubicBezTo>
                <a:cubicBezTo>
                  <a:pt x="380194" y="171924"/>
                  <a:pt x="845326" y="3693"/>
                  <a:pt x="1419798" y="6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5" name="Bildplatzhalter 62">
            <a:extLst>
              <a:ext uri="{FF2B5EF4-FFF2-40B4-BE49-F238E27FC236}">
                <a16:creationId xmlns:a16="http://schemas.microsoft.com/office/drawing/2014/main" id="{5AA96D2F-C803-46E7-B4BD-F75DFA8303F2}"/>
              </a:ext>
            </a:extLst>
          </p:cNvPr>
          <p:cNvSpPr>
            <a:spLocks noGrp="1"/>
          </p:cNvSpPr>
          <p:nvPr>
            <p:ph type="pic" sz="quarter" idx="13" hasCustomPrompt="1"/>
          </p:nvPr>
        </p:nvSpPr>
        <p:spPr bwMode="gray">
          <a:xfrm>
            <a:off x="6389003" y="-1"/>
            <a:ext cx="5802996" cy="5189065"/>
          </a:xfrm>
          <a:custGeom>
            <a:avLst/>
            <a:gdLst>
              <a:gd name="connsiteX0" fmla="*/ 0 w 5802996"/>
              <a:gd name="connsiteY0" fmla="*/ 0 h 5189065"/>
              <a:gd name="connsiteX1" fmla="*/ 5802996 w 5802996"/>
              <a:gd name="connsiteY1" fmla="*/ 0 h 5189065"/>
              <a:gd name="connsiteX2" fmla="*/ 5802996 w 5802996"/>
              <a:gd name="connsiteY2" fmla="*/ 5174145 h 5189065"/>
              <a:gd name="connsiteX3" fmla="*/ 5799234 w 5802996"/>
              <a:gd name="connsiteY3" fmla="*/ 5174691 h 5189065"/>
              <a:gd name="connsiteX4" fmla="*/ 5329484 w 5802996"/>
              <a:gd name="connsiteY4" fmla="*/ 5169087 h 5189065"/>
              <a:gd name="connsiteX5" fmla="*/ 1552731 w 5802996"/>
              <a:gd name="connsiteY5" fmla="*/ 4477977 h 5189065"/>
              <a:gd name="connsiteX6" fmla="*/ 165046 w 5802996"/>
              <a:gd name="connsiteY6" fmla="*/ 2262690 h 518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02996" h="5189065">
                <a:moveTo>
                  <a:pt x="0" y="0"/>
                </a:moveTo>
                <a:lnTo>
                  <a:pt x="5802996" y="0"/>
                </a:lnTo>
                <a:lnTo>
                  <a:pt x="5802996" y="5174145"/>
                </a:lnTo>
                <a:lnTo>
                  <a:pt x="5799234" y="5174691"/>
                </a:lnTo>
                <a:cubicBezTo>
                  <a:pt x="5669842" y="5190567"/>
                  <a:pt x="5498256" y="5198973"/>
                  <a:pt x="5329484" y="5169087"/>
                </a:cubicBezTo>
                <a:cubicBezTo>
                  <a:pt x="1552731" y="4477977"/>
                  <a:pt x="1552731" y="4477977"/>
                  <a:pt x="1552731" y="4477977"/>
                </a:cubicBezTo>
                <a:cubicBezTo>
                  <a:pt x="1552731" y="4477977"/>
                  <a:pt x="183799" y="4470505"/>
                  <a:pt x="165046" y="2262690"/>
                </a:cubicBezTo>
                <a:close/>
              </a:path>
            </a:pathLst>
          </a:custGeom>
          <a:solidFill>
            <a:schemeClr val="accent1"/>
          </a:solidFill>
        </p:spPr>
        <p:txBody>
          <a:bodyPr wrap="square" tIns="720000" anchor="ctr">
            <a:noAutofit/>
          </a:bodyPr>
          <a:lstStyle>
            <a:lvl1pPr algn="ctr">
              <a:defRPr sz="1000">
                <a:solidFill>
                  <a:schemeClr val="accent3"/>
                </a:solidFill>
              </a:defRPr>
            </a:lvl1pPr>
          </a:lstStyle>
          <a:p>
            <a:r>
              <a:rPr lang="en-US" noProof="0" dirty="0"/>
              <a:t>Click icon to add picture</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7" name="Text Placeholder 12"/>
          <p:cNvSpPr>
            <a:spLocks noGrp="1"/>
          </p:cNvSpPr>
          <p:nvPr userDrawn="1">
            <p:ph type="body" sz="quarter" idx="10" hasCustomPrompt="1"/>
          </p:nvPr>
        </p:nvSpPr>
        <p:spPr bwMode="gray">
          <a:xfrm>
            <a:off x="623392" y="3645024"/>
            <a:ext cx="5327649"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p>
          <a:p>
            <a:r>
              <a:rPr lang="en-US" noProof="0" dirty="0"/>
              <a:t>Place, Date</a:t>
            </a:r>
          </a:p>
        </p:txBody>
      </p:sp>
      <p:sp>
        <p:nvSpPr>
          <p:cNvPr id="3" name="Subtitle 2"/>
          <p:cNvSpPr>
            <a:spLocks noGrp="1"/>
          </p:cNvSpPr>
          <p:nvPr userDrawn="1">
            <p:ph type="subTitle" idx="1" hasCustomPrompt="1"/>
          </p:nvPr>
        </p:nvSpPr>
        <p:spPr bwMode="gray">
          <a:xfrm>
            <a:off x="623634" y="2877362"/>
            <a:ext cx="5327407" cy="648000"/>
          </a:xfrm>
          <a:prstGeom prst="rect">
            <a:avLst/>
          </a:prstGeom>
        </p:spPr>
        <p:txBody>
          <a:bodyPr>
            <a:noAutofit/>
          </a:bodyPr>
          <a:lstStyle>
            <a:lvl1pPr marL="0" indent="0" algn="l">
              <a:spcBef>
                <a:spcPts val="0"/>
              </a:spcBef>
              <a:spcAft>
                <a:spcPts val="1200"/>
              </a:spcAft>
              <a:buNone/>
              <a:defRPr sz="1600" b="1" i="0" baseline="0">
                <a:solidFill>
                  <a:schemeClr val="accent1"/>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dirty="0"/>
              <a:t>Subtitle and other information of this presentation</a:t>
            </a:r>
          </a:p>
        </p:txBody>
      </p:sp>
      <p:sp>
        <p:nvSpPr>
          <p:cNvPr id="2" name="Title 1"/>
          <p:cNvSpPr>
            <a:spLocks noGrp="1"/>
          </p:cNvSpPr>
          <p:nvPr userDrawn="1">
            <p:ph type="ctrTitle" hasCustomPrompt="1"/>
          </p:nvPr>
        </p:nvSpPr>
        <p:spPr bwMode="gray">
          <a:xfrm>
            <a:off x="623634" y="1484784"/>
            <a:ext cx="5327407" cy="1249282"/>
          </a:xfrm>
          <a:prstGeom prst="rect">
            <a:avLst/>
          </a:prstGeom>
          <a:noFill/>
        </p:spPr>
        <p:txBody>
          <a:bodyPr anchor="b"/>
          <a:lstStyle>
            <a:lvl1pPr algn="l">
              <a:lnSpc>
                <a:spcPct val="100000"/>
              </a:lnSpc>
              <a:defRPr sz="4000" b="0" cap="none" baseline="0">
                <a:solidFill>
                  <a:schemeClr val="accent1"/>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26" name="Gruppieren 25">
            <a:extLst>
              <a:ext uri="{FF2B5EF4-FFF2-40B4-BE49-F238E27FC236}">
                <a16:creationId xmlns:a16="http://schemas.microsoft.com/office/drawing/2014/main" id="{5DD485F8-85BF-482D-BAEC-AF16C3459FFF}"/>
              </a:ext>
            </a:extLst>
          </p:cNvPr>
          <p:cNvGrpSpPr/>
          <p:nvPr userDrawn="1">
            <p:custDataLst>
              <p:tags r:id="rId1"/>
            </p:custDataLst>
          </p:nvPr>
        </p:nvGrpSpPr>
        <p:grpSpPr bwMode="gray">
          <a:xfrm>
            <a:off x="438112" y="5303128"/>
            <a:ext cx="2446405" cy="1229401"/>
            <a:chOff x="2649538" y="1697038"/>
            <a:chExt cx="6892925" cy="3463925"/>
          </a:xfrm>
        </p:grpSpPr>
        <p:sp>
          <p:nvSpPr>
            <p:cNvPr id="27" name="Freeform 17">
              <a:extLst>
                <a:ext uri="{FF2B5EF4-FFF2-40B4-BE49-F238E27FC236}">
                  <a16:creationId xmlns:a16="http://schemas.microsoft.com/office/drawing/2014/main" id="{CD152238-3818-4E6F-8AA9-2ABA4E2C973E}"/>
                </a:ext>
              </a:extLst>
            </p:cNvPr>
            <p:cNvSpPr>
              <a:spLocks noEditPoints="1"/>
            </p:cNvSpPr>
            <p:nvPr>
              <p:custDataLst>
                <p:tags r:id="rId2"/>
              </p:custDataLst>
            </p:nvPr>
          </p:nvSpPr>
          <p:spPr bwMode="gray">
            <a:xfrm>
              <a:off x="2649538" y="1697038"/>
              <a:ext cx="6892925" cy="3463925"/>
            </a:xfrm>
            <a:custGeom>
              <a:avLst/>
              <a:gdLst>
                <a:gd name="T0" fmla="*/ 31 w 1835"/>
                <a:gd name="T1" fmla="*/ 747 h 921"/>
                <a:gd name="T2" fmla="*/ 384 w 1835"/>
                <a:gd name="T3" fmla="*/ 102 h 921"/>
                <a:gd name="T4" fmla="*/ 51 w 1835"/>
                <a:gd name="T5" fmla="*/ 48 h 921"/>
                <a:gd name="T6" fmla="*/ 196 w 1835"/>
                <a:gd name="T7" fmla="*/ 874 h 921"/>
                <a:gd name="T8" fmla="*/ 1645 w 1835"/>
                <a:gd name="T9" fmla="*/ 852 h 921"/>
                <a:gd name="T10" fmla="*/ 1534 w 1835"/>
                <a:gd name="T11" fmla="*/ 532 h 921"/>
                <a:gd name="T12" fmla="*/ 865 w 1835"/>
                <a:gd name="T13" fmla="*/ 836 h 921"/>
                <a:gd name="T14" fmla="*/ 306 w 1835"/>
                <a:gd name="T15" fmla="*/ 563 h 921"/>
                <a:gd name="T16" fmla="*/ 291 w 1835"/>
                <a:gd name="T17" fmla="*/ 879 h 921"/>
                <a:gd name="T18" fmla="*/ 13 w 1835"/>
                <a:gd name="T19" fmla="*/ 762 h 921"/>
                <a:gd name="T20" fmla="*/ 249 w 1835"/>
                <a:gd name="T21" fmla="*/ 17 h 921"/>
                <a:gd name="T22" fmla="*/ 624 w 1835"/>
                <a:gd name="T23" fmla="*/ 309 h 921"/>
                <a:gd name="T24" fmla="*/ 554 w 1835"/>
                <a:gd name="T25" fmla="*/ 296 h 921"/>
                <a:gd name="T26" fmla="*/ 219 w 1835"/>
                <a:gd name="T27" fmla="*/ 56 h 921"/>
                <a:gd name="T28" fmla="*/ 62 w 1835"/>
                <a:gd name="T29" fmla="*/ 761 h 921"/>
                <a:gd name="T30" fmla="*/ 243 w 1835"/>
                <a:gd name="T31" fmla="*/ 846 h 921"/>
                <a:gd name="T32" fmla="*/ 662 w 1835"/>
                <a:gd name="T33" fmla="*/ 619 h 921"/>
                <a:gd name="T34" fmla="*/ 1277 w 1835"/>
                <a:gd name="T35" fmla="*/ 546 h 921"/>
                <a:gd name="T36" fmla="*/ 1650 w 1835"/>
                <a:gd name="T37" fmla="*/ 852 h 921"/>
                <a:gd name="T38" fmla="*/ 651 w 1835"/>
                <a:gd name="T39" fmla="*/ 620 h 921"/>
                <a:gd name="T40" fmla="*/ 233 w 1835"/>
                <a:gd name="T41" fmla="*/ 860 h 921"/>
                <a:gd name="T42" fmla="*/ 58 w 1835"/>
                <a:gd name="T43" fmla="*/ 717 h 921"/>
                <a:gd name="T44" fmla="*/ 368 w 1835"/>
                <a:gd name="T45" fmla="*/ 117 h 921"/>
                <a:gd name="T46" fmla="*/ 975 w 1835"/>
                <a:gd name="T47" fmla="*/ 420 h 921"/>
                <a:gd name="T48" fmla="*/ 250 w 1835"/>
                <a:gd name="T49" fmla="*/ 21 h 921"/>
                <a:gd name="T50" fmla="*/ 39 w 1835"/>
                <a:gd name="T51" fmla="*/ 823 h 921"/>
                <a:gd name="T52" fmla="*/ 288 w 1835"/>
                <a:gd name="T53" fmla="*/ 865 h 921"/>
                <a:gd name="T54" fmla="*/ 590 w 1835"/>
                <a:gd name="T55" fmla="*/ 612 h 921"/>
                <a:gd name="T56" fmla="*/ 1301 w 1835"/>
                <a:gd name="T57" fmla="*/ 542 h 921"/>
                <a:gd name="T58" fmla="*/ 1645 w 1835"/>
                <a:gd name="T59" fmla="*/ 892 h 921"/>
                <a:gd name="T60" fmla="*/ 1531 w 1835"/>
                <a:gd name="T61" fmla="*/ 564 h 921"/>
                <a:gd name="T62" fmla="*/ 829 w 1835"/>
                <a:gd name="T63" fmla="*/ 839 h 921"/>
                <a:gd name="T64" fmla="*/ 308 w 1835"/>
                <a:gd name="T65" fmla="*/ 612 h 921"/>
                <a:gd name="T66" fmla="*/ 215 w 1835"/>
                <a:gd name="T67" fmla="*/ 921 h 921"/>
                <a:gd name="T68" fmla="*/ 1 w 1835"/>
                <a:gd name="T69" fmla="*/ 570 h 921"/>
                <a:gd name="T70" fmla="*/ 522 w 1835"/>
                <a:gd name="T71" fmla="*/ 194 h 921"/>
                <a:gd name="T72" fmla="*/ 1784 w 1835"/>
                <a:gd name="T73" fmla="*/ 48 h 921"/>
                <a:gd name="T74" fmla="*/ 853 w 1835"/>
                <a:gd name="T75" fmla="*/ 455 h 921"/>
                <a:gd name="T76" fmla="*/ 368 w 1835"/>
                <a:gd name="T77" fmla="*/ 148 h 921"/>
                <a:gd name="T78" fmla="*/ 177 w 1835"/>
                <a:gd name="T79" fmla="*/ 844 h 921"/>
                <a:gd name="T80" fmla="*/ 231 w 1835"/>
                <a:gd name="T81" fmla="*/ 838 h 921"/>
                <a:gd name="T82" fmla="*/ 502 w 1835"/>
                <a:gd name="T83" fmla="*/ 484 h 921"/>
                <a:gd name="T84" fmla="*/ 1194 w 1835"/>
                <a:gd name="T85" fmla="*/ 606 h 921"/>
                <a:gd name="T86" fmla="*/ 1605 w 1835"/>
                <a:gd name="T87" fmla="*/ 747 h 921"/>
                <a:gd name="T88" fmla="*/ 1777 w 1835"/>
                <a:gd name="T89" fmla="*/ 856 h 921"/>
                <a:gd name="T90" fmla="*/ 1811 w 1835"/>
                <a:gd name="T91" fmla="*/ 454 h 921"/>
                <a:gd name="T92" fmla="*/ 1775 w 1835"/>
                <a:gd name="T93" fmla="*/ 866 h 921"/>
                <a:gd name="T94" fmla="*/ 1601 w 1835"/>
                <a:gd name="T95" fmla="*/ 614 h 921"/>
                <a:gd name="T96" fmla="*/ 1011 w 1835"/>
                <a:gd name="T97" fmla="*/ 764 h 921"/>
                <a:gd name="T98" fmla="*/ 240 w 1835"/>
                <a:gd name="T99" fmla="*/ 575 h 921"/>
                <a:gd name="T100" fmla="*/ 204 w 1835"/>
                <a:gd name="T101" fmla="*/ 849 h 921"/>
                <a:gd name="T102" fmla="*/ 77 w 1835"/>
                <a:gd name="T103" fmla="*/ 69 h 921"/>
                <a:gd name="T104" fmla="*/ 544 w 1835"/>
                <a:gd name="T105" fmla="*/ 305 h 921"/>
                <a:gd name="T106" fmla="*/ 1489 w 1835"/>
                <a:gd name="T107" fmla="*/ 102 h 921"/>
                <a:gd name="T108" fmla="*/ 1536 w 1835"/>
                <a:gd name="T109" fmla="*/ 32 h 921"/>
                <a:gd name="T110" fmla="*/ 586 w 1835"/>
                <a:gd name="T111" fmla="*/ 264 h 921"/>
                <a:gd name="T112" fmla="*/ 221 w 1835"/>
                <a:gd name="T113" fmla="*/ 6 h 921"/>
                <a:gd name="T114" fmla="*/ 4 w 1835"/>
                <a:gd name="T115" fmla="*/ 759 h 921"/>
                <a:gd name="T116" fmla="*/ 243 w 1835"/>
                <a:gd name="T117" fmla="*/ 916 h 921"/>
                <a:gd name="T118" fmla="*/ 386 w 1835"/>
                <a:gd name="T119" fmla="*/ 526 h 921"/>
                <a:gd name="T120" fmla="*/ 1076 w 1835"/>
                <a:gd name="T121" fmla="*/ 795 h 921"/>
                <a:gd name="T122" fmla="*/ 1551 w 1835"/>
                <a:gd name="T123" fmla="*/ 607 h 921"/>
                <a:gd name="T124" fmla="*/ 1776 w 1835"/>
                <a:gd name="T125" fmla="*/ 899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35" h="921">
                  <a:moveTo>
                    <a:pt x="272" y="835"/>
                  </a:moveTo>
                  <a:cubicBezTo>
                    <a:pt x="272" y="842"/>
                    <a:pt x="272" y="850"/>
                    <a:pt x="272" y="859"/>
                  </a:cubicBezTo>
                  <a:cubicBezTo>
                    <a:pt x="272" y="863"/>
                    <a:pt x="272" y="868"/>
                    <a:pt x="270" y="872"/>
                  </a:cubicBezTo>
                  <a:cubicBezTo>
                    <a:pt x="269" y="876"/>
                    <a:pt x="265" y="880"/>
                    <a:pt x="261" y="881"/>
                  </a:cubicBezTo>
                  <a:cubicBezTo>
                    <a:pt x="253" y="885"/>
                    <a:pt x="243" y="885"/>
                    <a:pt x="233" y="886"/>
                  </a:cubicBezTo>
                  <a:cubicBezTo>
                    <a:pt x="224" y="887"/>
                    <a:pt x="215" y="887"/>
                    <a:pt x="205" y="887"/>
                  </a:cubicBezTo>
                  <a:cubicBezTo>
                    <a:pt x="200" y="888"/>
                    <a:pt x="196" y="888"/>
                    <a:pt x="191" y="888"/>
                  </a:cubicBezTo>
                  <a:cubicBezTo>
                    <a:pt x="186" y="888"/>
                    <a:pt x="181" y="888"/>
                    <a:pt x="176" y="887"/>
                  </a:cubicBezTo>
                  <a:cubicBezTo>
                    <a:pt x="156" y="886"/>
                    <a:pt x="135" y="881"/>
                    <a:pt x="115" y="871"/>
                  </a:cubicBezTo>
                  <a:cubicBezTo>
                    <a:pt x="96" y="862"/>
                    <a:pt x="77" y="849"/>
                    <a:pt x="61" y="831"/>
                  </a:cubicBezTo>
                  <a:cubicBezTo>
                    <a:pt x="53" y="822"/>
                    <a:pt x="46" y="812"/>
                    <a:pt x="41" y="801"/>
                  </a:cubicBezTo>
                  <a:cubicBezTo>
                    <a:pt x="36" y="790"/>
                    <a:pt x="32" y="778"/>
                    <a:pt x="31" y="765"/>
                  </a:cubicBezTo>
                  <a:cubicBezTo>
                    <a:pt x="31" y="762"/>
                    <a:pt x="31" y="759"/>
                    <a:pt x="31" y="756"/>
                  </a:cubicBezTo>
                  <a:cubicBezTo>
                    <a:pt x="31" y="753"/>
                    <a:pt x="31" y="750"/>
                    <a:pt x="31" y="747"/>
                  </a:cubicBezTo>
                  <a:cubicBezTo>
                    <a:pt x="31" y="741"/>
                    <a:pt x="31" y="735"/>
                    <a:pt x="30" y="729"/>
                  </a:cubicBezTo>
                  <a:cubicBezTo>
                    <a:pt x="30" y="717"/>
                    <a:pt x="30" y="705"/>
                    <a:pt x="30" y="693"/>
                  </a:cubicBezTo>
                  <a:cubicBezTo>
                    <a:pt x="30" y="594"/>
                    <a:pt x="29" y="489"/>
                    <a:pt x="29" y="381"/>
                  </a:cubicBezTo>
                  <a:cubicBezTo>
                    <a:pt x="29" y="328"/>
                    <a:pt x="29" y="274"/>
                    <a:pt x="29" y="220"/>
                  </a:cubicBezTo>
                  <a:cubicBezTo>
                    <a:pt x="30" y="165"/>
                    <a:pt x="30" y="70"/>
                    <a:pt x="30" y="57"/>
                  </a:cubicBezTo>
                  <a:cubicBezTo>
                    <a:pt x="30" y="43"/>
                    <a:pt x="37" y="27"/>
                    <a:pt x="60" y="27"/>
                  </a:cubicBezTo>
                  <a:cubicBezTo>
                    <a:pt x="82" y="27"/>
                    <a:pt x="129" y="28"/>
                    <a:pt x="163" y="28"/>
                  </a:cubicBezTo>
                  <a:cubicBezTo>
                    <a:pt x="175" y="28"/>
                    <a:pt x="188" y="28"/>
                    <a:pt x="200" y="28"/>
                  </a:cubicBezTo>
                  <a:cubicBezTo>
                    <a:pt x="206" y="28"/>
                    <a:pt x="212" y="28"/>
                    <a:pt x="218" y="28"/>
                  </a:cubicBezTo>
                  <a:cubicBezTo>
                    <a:pt x="225" y="28"/>
                    <a:pt x="231" y="28"/>
                    <a:pt x="237" y="29"/>
                  </a:cubicBezTo>
                  <a:cubicBezTo>
                    <a:pt x="262" y="31"/>
                    <a:pt x="285" y="38"/>
                    <a:pt x="306" y="47"/>
                  </a:cubicBezTo>
                  <a:cubicBezTo>
                    <a:pt x="327" y="56"/>
                    <a:pt x="346" y="68"/>
                    <a:pt x="362" y="81"/>
                  </a:cubicBezTo>
                  <a:cubicBezTo>
                    <a:pt x="366" y="85"/>
                    <a:pt x="370" y="88"/>
                    <a:pt x="373" y="92"/>
                  </a:cubicBezTo>
                  <a:cubicBezTo>
                    <a:pt x="377" y="95"/>
                    <a:pt x="381" y="99"/>
                    <a:pt x="384" y="102"/>
                  </a:cubicBezTo>
                  <a:cubicBezTo>
                    <a:pt x="391" y="109"/>
                    <a:pt x="398" y="115"/>
                    <a:pt x="405" y="122"/>
                  </a:cubicBezTo>
                  <a:cubicBezTo>
                    <a:pt x="458" y="173"/>
                    <a:pt x="499" y="213"/>
                    <a:pt x="523" y="238"/>
                  </a:cubicBezTo>
                  <a:cubicBezTo>
                    <a:pt x="531" y="245"/>
                    <a:pt x="536" y="251"/>
                    <a:pt x="539" y="255"/>
                  </a:cubicBezTo>
                  <a:cubicBezTo>
                    <a:pt x="546" y="263"/>
                    <a:pt x="545" y="263"/>
                    <a:pt x="536" y="256"/>
                  </a:cubicBezTo>
                  <a:cubicBezTo>
                    <a:pt x="531" y="252"/>
                    <a:pt x="525" y="247"/>
                    <a:pt x="516" y="240"/>
                  </a:cubicBezTo>
                  <a:cubicBezTo>
                    <a:pt x="507" y="233"/>
                    <a:pt x="458" y="189"/>
                    <a:pt x="393" y="129"/>
                  </a:cubicBezTo>
                  <a:cubicBezTo>
                    <a:pt x="383" y="119"/>
                    <a:pt x="372" y="109"/>
                    <a:pt x="361" y="99"/>
                  </a:cubicBezTo>
                  <a:cubicBezTo>
                    <a:pt x="350" y="89"/>
                    <a:pt x="339" y="81"/>
                    <a:pt x="326" y="73"/>
                  </a:cubicBezTo>
                  <a:cubicBezTo>
                    <a:pt x="302" y="59"/>
                    <a:pt x="274" y="49"/>
                    <a:pt x="245" y="45"/>
                  </a:cubicBezTo>
                  <a:cubicBezTo>
                    <a:pt x="238" y="44"/>
                    <a:pt x="230" y="44"/>
                    <a:pt x="223" y="43"/>
                  </a:cubicBezTo>
                  <a:cubicBezTo>
                    <a:pt x="216" y="43"/>
                    <a:pt x="208" y="43"/>
                    <a:pt x="200" y="43"/>
                  </a:cubicBezTo>
                  <a:cubicBezTo>
                    <a:pt x="185" y="43"/>
                    <a:pt x="170" y="43"/>
                    <a:pt x="155" y="43"/>
                  </a:cubicBezTo>
                  <a:cubicBezTo>
                    <a:pt x="125" y="44"/>
                    <a:pt x="72" y="44"/>
                    <a:pt x="67" y="44"/>
                  </a:cubicBezTo>
                  <a:cubicBezTo>
                    <a:pt x="59" y="44"/>
                    <a:pt x="54" y="45"/>
                    <a:pt x="51" y="48"/>
                  </a:cubicBezTo>
                  <a:cubicBezTo>
                    <a:pt x="46" y="53"/>
                    <a:pt x="47" y="57"/>
                    <a:pt x="47" y="64"/>
                  </a:cubicBezTo>
                  <a:cubicBezTo>
                    <a:pt x="47" y="83"/>
                    <a:pt x="47" y="185"/>
                    <a:pt x="47" y="245"/>
                  </a:cubicBezTo>
                  <a:cubicBezTo>
                    <a:pt x="48" y="306"/>
                    <a:pt x="48" y="366"/>
                    <a:pt x="48" y="426"/>
                  </a:cubicBezTo>
                  <a:cubicBezTo>
                    <a:pt x="49" y="499"/>
                    <a:pt x="49" y="579"/>
                    <a:pt x="49" y="657"/>
                  </a:cubicBezTo>
                  <a:cubicBezTo>
                    <a:pt x="49" y="676"/>
                    <a:pt x="49" y="695"/>
                    <a:pt x="48" y="714"/>
                  </a:cubicBezTo>
                  <a:cubicBezTo>
                    <a:pt x="48" y="724"/>
                    <a:pt x="48" y="733"/>
                    <a:pt x="48" y="743"/>
                  </a:cubicBezTo>
                  <a:cubicBezTo>
                    <a:pt x="48" y="747"/>
                    <a:pt x="48" y="752"/>
                    <a:pt x="48" y="757"/>
                  </a:cubicBezTo>
                  <a:cubicBezTo>
                    <a:pt x="48" y="761"/>
                    <a:pt x="48" y="765"/>
                    <a:pt x="49" y="769"/>
                  </a:cubicBezTo>
                  <a:cubicBezTo>
                    <a:pt x="51" y="785"/>
                    <a:pt x="58" y="800"/>
                    <a:pt x="67" y="813"/>
                  </a:cubicBezTo>
                  <a:cubicBezTo>
                    <a:pt x="77" y="826"/>
                    <a:pt x="88" y="836"/>
                    <a:pt x="101" y="845"/>
                  </a:cubicBezTo>
                  <a:cubicBezTo>
                    <a:pt x="114" y="855"/>
                    <a:pt x="130" y="862"/>
                    <a:pt x="146" y="868"/>
                  </a:cubicBezTo>
                  <a:cubicBezTo>
                    <a:pt x="154" y="870"/>
                    <a:pt x="162" y="872"/>
                    <a:pt x="170" y="873"/>
                  </a:cubicBezTo>
                  <a:cubicBezTo>
                    <a:pt x="175" y="874"/>
                    <a:pt x="179" y="874"/>
                    <a:pt x="183" y="874"/>
                  </a:cubicBezTo>
                  <a:cubicBezTo>
                    <a:pt x="187" y="874"/>
                    <a:pt x="192" y="874"/>
                    <a:pt x="196" y="874"/>
                  </a:cubicBezTo>
                  <a:cubicBezTo>
                    <a:pt x="213" y="874"/>
                    <a:pt x="233" y="874"/>
                    <a:pt x="245" y="873"/>
                  </a:cubicBezTo>
                  <a:cubicBezTo>
                    <a:pt x="247" y="872"/>
                    <a:pt x="249" y="872"/>
                    <a:pt x="251" y="872"/>
                  </a:cubicBezTo>
                  <a:cubicBezTo>
                    <a:pt x="252" y="871"/>
                    <a:pt x="254" y="871"/>
                    <a:pt x="256" y="870"/>
                  </a:cubicBezTo>
                  <a:cubicBezTo>
                    <a:pt x="259" y="868"/>
                    <a:pt x="260" y="864"/>
                    <a:pt x="261" y="861"/>
                  </a:cubicBezTo>
                  <a:cubicBezTo>
                    <a:pt x="261" y="857"/>
                    <a:pt x="261" y="854"/>
                    <a:pt x="261" y="850"/>
                  </a:cubicBezTo>
                  <a:cubicBezTo>
                    <a:pt x="261" y="839"/>
                    <a:pt x="261" y="839"/>
                    <a:pt x="261" y="839"/>
                  </a:cubicBezTo>
                  <a:cubicBezTo>
                    <a:pt x="261" y="808"/>
                    <a:pt x="262" y="781"/>
                    <a:pt x="262" y="757"/>
                  </a:cubicBezTo>
                  <a:cubicBezTo>
                    <a:pt x="263" y="743"/>
                    <a:pt x="263" y="729"/>
                    <a:pt x="264" y="717"/>
                  </a:cubicBezTo>
                  <a:cubicBezTo>
                    <a:pt x="265" y="704"/>
                    <a:pt x="267" y="713"/>
                    <a:pt x="269" y="740"/>
                  </a:cubicBezTo>
                  <a:cubicBezTo>
                    <a:pt x="269" y="749"/>
                    <a:pt x="270" y="761"/>
                    <a:pt x="270" y="774"/>
                  </a:cubicBezTo>
                  <a:cubicBezTo>
                    <a:pt x="271" y="786"/>
                    <a:pt x="271" y="799"/>
                    <a:pt x="271" y="813"/>
                  </a:cubicBezTo>
                  <a:cubicBezTo>
                    <a:pt x="271" y="820"/>
                    <a:pt x="272" y="827"/>
                    <a:pt x="272" y="835"/>
                  </a:cubicBezTo>
                  <a:close/>
                  <a:moveTo>
                    <a:pt x="1650" y="852"/>
                  </a:moveTo>
                  <a:cubicBezTo>
                    <a:pt x="1651" y="853"/>
                    <a:pt x="1649" y="854"/>
                    <a:pt x="1645" y="852"/>
                  </a:cubicBezTo>
                  <a:cubicBezTo>
                    <a:pt x="1641" y="851"/>
                    <a:pt x="1635" y="848"/>
                    <a:pt x="1627" y="843"/>
                  </a:cubicBezTo>
                  <a:cubicBezTo>
                    <a:pt x="1619" y="838"/>
                    <a:pt x="1610" y="831"/>
                    <a:pt x="1600" y="820"/>
                  </a:cubicBezTo>
                  <a:cubicBezTo>
                    <a:pt x="1593" y="812"/>
                    <a:pt x="1587" y="803"/>
                    <a:pt x="1581" y="792"/>
                  </a:cubicBezTo>
                  <a:cubicBezTo>
                    <a:pt x="1579" y="786"/>
                    <a:pt x="1577" y="780"/>
                    <a:pt x="1575" y="774"/>
                  </a:cubicBezTo>
                  <a:cubicBezTo>
                    <a:pt x="1574" y="770"/>
                    <a:pt x="1574" y="767"/>
                    <a:pt x="1574" y="763"/>
                  </a:cubicBezTo>
                  <a:cubicBezTo>
                    <a:pt x="1573" y="761"/>
                    <a:pt x="1573" y="759"/>
                    <a:pt x="1573" y="758"/>
                  </a:cubicBezTo>
                  <a:cubicBezTo>
                    <a:pt x="1573" y="756"/>
                    <a:pt x="1573" y="754"/>
                    <a:pt x="1573" y="752"/>
                  </a:cubicBezTo>
                  <a:cubicBezTo>
                    <a:pt x="1572" y="729"/>
                    <a:pt x="1571" y="702"/>
                    <a:pt x="1570" y="672"/>
                  </a:cubicBezTo>
                  <a:cubicBezTo>
                    <a:pt x="1570" y="657"/>
                    <a:pt x="1570" y="641"/>
                    <a:pt x="1569" y="624"/>
                  </a:cubicBezTo>
                  <a:cubicBezTo>
                    <a:pt x="1569" y="620"/>
                    <a:pt x="1569" y="616"/>
                    <a:pt x="1569" y="611"/>
                  </a:cubicBezTo>
                  <a:cubicBezTo>
                    <a:pt x="1569" y="609"/>
                    <a:pt x="1569" y="607"/>
                    <a:pt x="1569" y="605"/>
                  </a:cubicBezTo>
                  <a:cubicBezTo>
                    <a:pt x="1568" y="603"/>
                    <a:pt x="1568" y="601"/>
                    <a:pt x="1568" y="599"/>
                  </a:cubicBezTo>
                  <a:cubicBezTo>
                    <a:pt x="1567" y="591"/>
                    <a:pt x="1565" y="583"/>
                    <a:pt x="1562" y="575"/>
                  </a:cubicBezTo>
                  <a:cubicBezTo>
                    <a:pt x="1557" y="559"/>
                    <a:pt x="1547" y="544"/>
                    <a:pt x="1534" y="532"/>
                  </a:cubicBezTo>
                  <a:cubicBezTo>
                    <a:pt x="1521" y="519"/>
                    <a:pt x="1504" y="510"/>
                    <a:pt x="1485" y="506"/>
                  </a:cubicBezTo>
                  <a:cubicBezTo>
                    <a:pt x="1480" y="505"/>
                    <a:pt x="1476" y="504"/>
                    <a:pt x="1471" y="504"/>
                  </a:cubicBezTo>
                  <a:cubicBezTo>
                    <a:pt x="1466" y="503"/>
                    <a:pt x="1461" y="503"/>
                    <a:pt x="1456" y="503"/>
                  </a:cubicBezTo>
                  <a:cubicBezTo>
                    <a:pt x="1446" y="504"/>
                    <a:pt x="1435" y="505"/>
                    <a:pt x="1425" y="507"/>
                  </a:cubicBezTo>
                  <a:cubicBezTo>
                    <a:pt x="1404" y="512"/>
                    <a:pt x="1383" y="519"/>
                    <a:pt x="1363" y="530"/>
                  </a:cubicBezTo>
                  <a:cubicBezTo>
                    <a:pt x="1343" y="541"/>
                    <a:pt x="1323" y="555"/>
                    <a:pt x="1304" y="570"/>
                  </a:cubicBezTo>
                  <a:cubicBezTo>
                    <a:pt x="1284" y="585"/>
                    <a:pt x="1266" y="603"/>
                    <a:pt x="1247" y="621"/>
                  </a:cubicBezTo>
                  <a:cubicBezTo>
                    <a:pt x="1228" y="639"/>
                    <a:pt x="1208" y="658"/>
                    <a:pt x="1187" y="677"/>
                  </a:cubicBezTo>
                  <a:cubicBezTo>
                    <a:pt x="1167" y="696"/>
                    <a:pt x="1146" y="715"/>
                    <a:pt x="1125" y="735"/>
                  </a:cubicBezTo>
                  <a:cubicBezTo>
                    <a:pt x="1103" y="754"/>
                    <a:pt x="1081" y="774"/>
                    <a:pt x="1056" y="793"/>
                  </a:cubicBezTo>
                  <a:cubicBezTo>
                    <a:pt x="1044" y="802"/>
                    <a:pt x="1030" y="811"/>
                    <a:pt x="1016" y="819"/>
                  </a:cubicBezTo>
                  <a:cubicBezTo>
                    <a:pt x="1002" y="827"/>
                    <a:pt x="986" y="833"/>
                    <a:pt x="970" y="838"/>
                  </a:cubicBezTo>
                  <a:cubicBezTo>
                    <a:pt x="953" y="843"/>
                    <a:pt x="935" y="845"/>
                    <a:pt x="918" y="845"/>
                  </a:cubicBezTo>
                  <a:cubicBezTo>
                    <a:pt x="900" y="844"/>
                    <a:pt x="882" y="841"/>
                    <a:pt x="865" y="836"/>
                  </a:cubicBezTo>
                  <a:cubicBezTo>
                    <a:pt x="848" y="830"/>
                    <a:pt x="833" y="822"/>
                    <a:pt x="818" y="814"/>
                  </a:cubicBezTo>
                  <a:cubicBezTo>
                    <a:pt x="803" y="805"/>
                    <a:pt x="789" y="795"/>
                    <a:pt x="775" y="785"/>
                  </a:cubicBezTo>
                  <a:cubicBezTo>
                    <a:pt x="749" y="765"/>
                    <a:pt x="724" y="742"/>
                    <a:pt x="699" y="720"/>
                  </a:cubicBezTo>
                  <a:cubicBezTo>
                    <a:pt x="686" y="709"/>
                    <a:pt x="674" y="698"/>
                    <a:pt x="661" y="687"/>
                  </a:cubicBezTo>
                  <a:cubicBezTo>
                    <a:pt x="655" y="681"/>
                    <a:pt x="649" y="675"/>
                    <a:pt x="642" y="670"/>
                  </a:cubicBezTo>
                  <a:cubicBezTo>
                    <a:pt x="636" y="664"/>
                    <a:pt x="629" y="658"/>
                    <a:pt x="623" y="652"/>
                  </a:cubicBezTo>
                  <a:cubicBezTo>
                    <a:pt x="598" y="629"/>
                    <a:pt x="573" y="606"/>
                    <a:pt x="547" y="585"/>
                  </a:cubicBezTo>
                  <a:cubicBezTo>
                    <a:pt x="521" y="564"/>
                    <a:pt x="494" y="545"/>
                    <a:pt x="464" y="532"/>
                  </a:cubicBezTo>
                  <a:cubicBezTo>
                    <a:pt x="450" y="526"/>
                    <a:pt x="435" y="521"/>
                    <a:pt x="419" y="519"/>
                  </a:cubicBezTo>
                  <a:cubicBezTo>
                    <a:pt x="411" y="517"/>
                    <a:pt x="404" y="516"/>
                    <a:pt x="396" y="516"/>
                  </a:cubicBezTo>
                  <a:cubicBezTo>
                    <a:pt x="392" y="516"/>
                    <a:pt x="388" y="515"/>
                    <a:pt x="384" y="516"/>
                  </a:cubicBezTo>
                  <a:cubicBezTo>
                    <a:pt x="381" y="516"/>
                    <a:pt x="377" y="516"/>
                    <a:pt x="374" y="516"/>
                  </a:cubicBezTo>
                  <a:cubicBezTo>
                    <a:pt x="360" y="518"/>
                    <a:pt x="346" y="524"/>
                    <a:pt x="335" y="532"/>
                  </a:cubicBezTo>
                  <a:cubicBezTo>
                    <a:pt x="323" y="540"/>
                    <a:pt x="313" y="551"/>
                    <a:pt x="306" y="563"/>
                  </a:cubicBezTo>
                  <a:cubicBezTo>
                    <a:pt x="299" y="576"/>
                    <a:pt x="295" y="590"/>
                    <a:pt x="294" y="604"/>
                  </a:cubicBezTo>
                  <a:cubicBezTo>
                    <a:pt x="294" y="606"/>
                    <a:pt x="294" y="607"/>
                    <a:pt x="294" y="609"/>
                  </a:cubicBezTo>
                  <a:cubicBezTo>
                    <a:pt x="294" y="616"/>
                    <a:pt x="294" y="616"/>
                    <a:pt x="294" y="616"/>
                  </a:cubicBezTo>
                  <a:cubicBezTo>
                    <a:pt x="294" y="630"/>
                    <a:pt x="294" y="630"/>
                    <a:pt x="294" y="630"/>
                  </a:cubicBezTo>
                  <a:cubicBezTo>
                    <a:pt x="294" y="639"/>
                    <a:pt x="294" y="648"/>
                    <a:pt x="294" y="657"/>
                  </a:cubicBezTo>
                  <a:cubicBezTo>
                    <a:pt x="294" y="694"/>
                    <a:pt x="294" y="731"/>
                    <a:pt x="294" y="768"/>
                  </a:cubicBezTo>
                  <a:cubicBezTo>
                    <a:pt x="294" y="786"/>
                    <a:pt x="294" y="805"/>
                    <a:pt x="294" y="823"/>
                  </a:cubicBezTo>
                  <a:cubicBezTo>
                    <a:pt x="294" y="837"/>
                    <a:pt x="294" y="837"/>
                    <a:pt x="294" y="837"/>
                  </a:cubicBezTo>
                  <a:cubicBezTo>
                    <a:pt x="294" y="841"/>
                    <a:pt x="294" y="841"/>
                    <a:pt x="294" y="841"/>
                  </a:cubicBezTo>
                  <a:cubicBezTo>
                    <a:pt x="294" y="843"/>
                    <a:pt x="294" y="843"/>
                    <a:pt x="294" y="843"/>
                  </a:cubicBezTo>
                  <a:cubicBezTo>
                    <a:pt x="294" y="846"/>
                    <a:pt x="294" y="846"/>
                    <a:pt x="294" y="846"/>
                  </a:cubicBezTo>
                  <a:cubicBezTo>
                    <a:pt x="294" y="857"/>
                    <a:pt x="294" y="857"/>
                    <a:pt x="294" y="857"/>
                  </a:cubicBezTo>
                  <a:cubicBezTo>
                    <a:pt x="294" y="861"/>
                    <a:pt x="294" y="865"/>
                    <a:pt x="293" y="868"/>
                  </a:cubicBezTo>
                  <a:cubicBezTo>
                    <a:pt x="293" y="872"/>
                    <a:pt x="292" y="875"/>
                    <a:pt x="291" y="879"/>
                  </a:cubicBezTo>
                  <a:cubicBezTo>
                    <a:pt x="289" y="885"/>
                    <a:pt x="285" y="891"/>
                    <a:pt x="279" y="896"/>
                  </a:cubicBezTo>
                  <a:cubicBezTo>
                    <a:pt x="268" y="904"/>
                    <a:pt x="252" y="906"/>
                    <a:pt x="237" y="907"/>
                  </a:cubicBezTo>
                  <a:cubicBezTo>
                    <a:pt x="228" y="908"/>
                    <a:pt x="228" y="908"/>
                    <a:pt x="228" y="908"/>
                  </a:cubicBezTo>
                  <a:cubicBezTo>
                    <a:pt x="221" y="908"/>
                    <a:pt x="221" y="908"/>
                    <a:pt x="221" y="908"/>
                  </a:cubicBezTo>
                  <a:cubicBezTo>
                    <a:pt x="216" y="908"/>
                    <a:pt x="211" y="908"/>
                    <a:pt x="206" y="908"/>
                  </a:cubicBezTo>
                  <a:cubicBezTo>
                    <a:pt x="192" y="908"/>
                    <a:pt x="192" y="908"/>
                    <a:pt x="192" y="908"/>
                  </a:cubicBezTo>
                  <a:cubicBezTo>
                    <a:pt x="184" y="908"/>
                    <a:pt x="184" y="908"/>
                    <a:pt x="184" y="908"/>
                  </a:cubicBezTo>
                  <a:cubicBezTo>
                    <a:pt x="182" y="908"/>
                    <a:pt x="179" y="908"/>
                    <a:pt x="176" y="908"/>
                  </a:cubicBezTo>
                  <a:cubicBezTo>
                    <a:pt x="165" y="907"/>
                    <a:pt x="154" y="905"/>
                    <a:pt x="144" y="902"/>
                  </a:cubicBezTo>
                  <a:cubicBezTo>
                    <a:pt x="123" y="897"/>
                    <a:pt x="103" y="888"/>
                    <a:pt x="85" y="876"/>
                  </a:cubicBezTo>
                  <a:cubicBezTo>
                    <a:pt x="67" y="865"/>
                    <a:pt x="50" y="850"/>
                    <a:pt x="37" y="831"/>
                  </a:cubicBezTo>
                  <a:cubicBezTo>
                    <a:pt x="31" y="822"/>
                    <a:pt x="25" y="812"/>
                    <a:pt x="21" y="801"/>
                  </a:cubicBezTo>
                  <a:cubicBezTo>
                    <a:pt x="17" y="790"/>
                    <a:pt x="14" y="778"/>
                    <a:pt x="13" y="766"/>
                  </a:cubicBezTo>
                  <a:cubicBezTo>
                    <a:pt x="13" y="762"/>
                    <a:pt x="13" y="762"/>
                    <a:pt x="13" y="762"/>
                  </a:cubicBezTo>
                  <a:cubicBezTo>
                    <a:pt x="13" y="757"/>
                    <a:pt x="13" y="757"/>
                    <a:pt x="13" y="757"/>
                  </a:cubicBezTo>
                  <a:cubicBezTo>
                    <a:pt x="13" y="750"/>
                    <a:pt x="13" y="750"/>
                    <a:pt x="13" y="750"/>
                  </a:cubicBezTo>
                  <a:cubicBezTo>
                    <a:pt x="13" y="736"/>
                    <a:pt x="13" y="736"/>
                    <a:pt x="13" y="736"/>
                  </a:cubicBezTo>
                  <a:cubicBezTo>
                    <a:pt x="13" y="708"/>
                    <a:pt x="13" y="708"/>
                    <a:pt x="13" y="708"/>
                  </a:cubicBezTo>
                  <a:cubicBezTo>
                    <a:pt x="13" y="557"/>
                    <a:pt x="14" y="405"/>
                    <a:pt x="15" y="256"/>
                  </a:cubicBezTo>
                  <a:cubicBezTo>
                    <a:pt x="15" y="186"/>
                    <a:pt x="16" y="76"/>
                    <a:pt x="16" y="51"/>
                  </a:cubicBezTo>
                  <a:cubicBezTo>
                    <a:pt x="16" y="46"/>
                    <a:pt x="17" y="41"/>
                    <a:pt x="17" y="37"/>
                  </a:cubicBezTo>
                  <a:cubicBezTo>
                    <a:pt x="20" y="27"/>
                    <a:pt x="28" y="13"/>
                    <a:pt x="54" y="13"/>
                  </a:cubicBezTo>
                  <a:cubicBezTo>
                    <a:pt x="60" y="13"/>
                    <a:pt x="66" y="13"/>
                    <a:pt x="73" y="13"/>
                  </a:cubicBezTo>
                  <a:cubicBezTo>
                    <a:pt x="101" y="13"/>
                    <a:pt x="140" y="14"/>
                    <a:pt x="170" y="14"/>
                  </a:cubicBezTo>
                  <a:cubicBezTo>
                    <a:pt x="188" y="14"/>
                    <a:pt x="205" y="14"/>
                    <a:pt x="222" y="14"/>
                  </a:cubicBezTo>
                  <a:cubicBezTo>
                    <a:pt x="224" y="14"/>
                    <a:pt x="226" y="14"/>
                    <a:pt x="229" y="14"/>
                  </a:cubicBezTo>
                  <a:cubicBezTo>
                    <a:pt x="231" y="15"/>
                    <a:pt x="233" y="15"/>
                    <a:pt x="236" y="15"/>
                  </a:cubicBezTo>
                  <a:cubicBezTo>
                    <a:pt x="240" y="15"/>
                    <a:pt x="245" y="16"/>
                    <a:pt x="249" y="17"/>
                  </a:cubicBezTo>
                  <a:cubicBezTo>
                    <a:pt x="258" y="18"/>
                    <a:pt x="267" y="20"/>
                    <a:pt x="276" y="22"/>
                  </a:cubicBezTo>
                  <a:cubicBezTo>
                    <a:pt x="311" y="31"/>
                    <a:pt x="343" y="48"/>
                    <a:pt x="370" y="70"/>
                  </a:cubicBezTo>
                  <a:cubicBezTo>
                    <a:pt x="373" y="72"/>
                    <a:pt x="376" y="75"/>
                    <a:pt x="379" y="78"/>
                  </a:cubicBezTo>
                  <a:cubicBezTo>
                    <a:pt x="384" y="83"/>
                    <a:pt x="384" y="83"/>
                    <a:pt x="384" y="83"/>
                  </a:cubicBezTo>
                  <a:cubicBezTo>
                    <a:pt x="388" y="87"/>
                    <a:pt x="388" y="87"/>
                    <a:pt x="388" y="87"/>
                  </a:cubicBezTo>
                  <a:cubicBezTo>
                    <a:pt x="394" y="92"/>
                    <a:pt x="400" y="97"/>
                    <a:pt x="405" y="103"/>
                  </a:cubicBezTo>
                  <a:cubicBezTo>
                    <a:pt x="417" y="114"/>
                    <a:pt x="428" y="124"/>
                    <a:pt x="439" y="135"/>
                  </a:cubicBezTo>
                  <a:cubicBezTo>
                    <a:pt x="461" y="156"/>
                    <a:pt x="482" y="177"/>
                    <a:pt x="503" y="197"/>
                  </a:cubicBezTo>
                  <a:cubicBezTo>
                    <a:pt x="524" y="217"/>
                    <a:pt x="545" y="237"/>
                    <a:pt x="565" y="256"/>
                  </a:cubicBezTo>
                  <a:cubicBezTo>
                    <a:pt x="567" y="258"/>
                    <a:pt x="570" y="261"/>
                    <a:pt x="572" y="263"/>
                  </a:cubicBezTo>
                  <a:cubicBezTo>
                    <a:pt x="576" y="267"/>
                    <a:pt x="576" y="267"/>
                    <a:pt x="576" y="267"/>
                  </a:cubicBezTo>
                  <a:cubicBezTo>
                    <a:pt x="578" y="268"/>
                    <a:pt x="579" y="269"/>
                    <a:pt x="580" y="270"/>
                  </a:cubicBezTo>
                  <a:cubicBezTo>
                    <a:pt x="585" y="275"/>
                    <a:pt x="589" y="280"/>
                    <a:pt x="594" y="284"/>
                  </a:cubicBezTo>
                  <a:cubicBezTo>
                    <a:pt x="604" y="293"/>
                    <a:pt x="614" y="301"/>
                    <a:pt x="624" y="309"/>
                  </a:cubicBezTo>
                  <a:cubicBezTo>
                    <a:pt x="664" y="340"/>
                    <a:pt x="707" y="363"/>
                    <a:pt x="749" y="379"/>
                  </a:cubicBezTo>
                  <a:cubicBezTo>
                    <a:pt x="791" y="395"/>
                    <a:pt x="833" y="404"/>
                    <a:pt x="872" y="409"/>
                  </a:cubicBezTo>
                  <a:cubicBezTo>
                    <a:pt x="911" y="413"/>
                    <a:pt x="948" y="413"/>
                    <a:pt x="980" y="410"/>
                  </a:cubicBezTo>
                  <a:cubicBezTo>
                    <a:pt x="1046" y="405"/>
                    <a:pt x="1097" y="389"/>
                    <a:pt x="1133" y="375"/>
                  </a:cubicBezTo>
                  <a:cubicBezTo>
                    <a:pt x="1156" y="366"/>
                    <a:pt x="1173" y="358"/>
                    <a:pt x="1183" y="353"/>
                  </a:cubicBezTo>
                  <a:cubicBezTo>
                    <a:pt x="1194" y="348"/>
                    <a:pt x="1199" y="347"/>
                    <a:pt x="1199" y="348"/>
                  </a:cubicBezTo>
                  <a:cubicBezTo>
                    <a:pt x="1199" y="350"/>
                    <a:pt x="1193" y="355"/>
                    <a:pt x="1183" y="362"/>
                  </a:cubicBezTo>
                  <a:cubicBezTo>
                    <a:pt x="1172" y="370"/>
                    <a:pt x="1155" y="380"/>
                    <a:pt x="1131" y="392"/>
                  </a:cubicBezTo>
                  <a:cubicBezTo>
                    <a:pt x="1125" y="395"/>
                    <a:pt x="1112" y="402"/>
                    <a:pt x="1092" y="409"/>
                  </a:cubicBezTo>
                  <a:cubicBezTo>
                    <a:pt x="1071" y="417"/>
                    <a:pt x="1043" y="426"/>
                    <a:pt x="1008" y="432"/>
                  </a:cubicBezTo>
                  <a:cubicBezTo>
                    <a:pt x="973" y="438"/>
                    <a:pt x="931" y="442"/>
                    <a:pt x="883" y="439"/>
                  </a:cubicBezTo>
                  <a:cubicBezTo>
                    <a:pt x="836" y="436"/>
                    <a:pt x="783" y="427"/>
                    <a:pt x="729" y="407"/>
                  </a:cubicBezTo>
                  <a:cubicBezTo>
                    <a:pt x="669" y="385"/>
                    <a:pt x="612" y="350"/>
                    <a:pt x="563" y="305"/>
                  </a:cubicBezTo>
                  <a:cubicBezTo>
                    <a:pt x="560" y="302"/>
                    <a:pt x="557" y="299"/>
                    <a:pt x="554" y="296"/>
                  </a:cubicBezTo>
                  <a:cubicBezTo>
                    <a:pt x="552" y="294"/>
                    <a:pt x="552" y="294"/>
                    <a:pt x="552" y="294"/>
                  </a:cubicBezTo>
                  <a:cubicBezTo>
                    <a:pt x="550" y="292"/>
                    <a:pt x="550" y="292"/>
                    <a:pt x="550" y="292"/>
                  </a:cubicBezTo>
                  <a:cubicBezTo>
                    <a:pt x="545" y="288"/>
                    <a:pt x="545" y="288"/>
                    <a:pt x="545" y="288"/>
                  </a:cubicBezTo>
                  <a:cubicBezTo>
                    <a:pt x="539" y="283"/>
                    <a:pt x="534" y="277"/>
                    <a:pt x="528" y="272"/>
                  </a:cubicBezTo>
                  <a:cubicBezTo>
                    <a:pt x="516" y="260"/>
                    <a:pt x="504" y="249"/>
                    <a:pt x="492" y="238"/>
                  </a:cubicBezTo>
                  <a:cubicBezTo>
                    <a:pt x="468" y="216"/>
                    <a:pt x="444" y="193"/>
                    <a:pt x="419" y="171"/>
                  </a:cubicBezTo>
                  <a:cubicBezTo>
                    <a:pt x="407" y="159"/>
                    <a:pt x="395" y="148"/>
                    <a:pt x="383" y="136"/>
                  </a:cubicBezTo>
                  <a:cubicBezTo>
                    <a:pt x="377" y="131"/>
                    <a:pt x="370" y="125"/>
                    <a:pt x="364" y="119"/>
                  </a:cubicBezTo>
                  <a:cubicBezTo>
                    <a:pt x="355" y="111"/>
                    <a:pt x="355" y="111"/>
                    <a:pt x="355" y="111"/>
                  </a:cubicBezTo>
                  <a:cubicBezTo>
                    <a:pt x="353" y="109"/>
                    <a:pt x="353" y="109"/>
                    <a:pt x="353" y="109"/>
                  </a:cubicBezTo>
                  <a:cubicBezTo>
                    <a:pt x="351" y="107"/>
                    <a:pt x="351" y="107"/>
                    <a:pt x="351" y="107"/>
                  </a:cubicBezTo>
                  <a:cubicBezTo>
                    <a:pt x="346" y="103"/>
                    <a:pt x="346" y="103"/>
                    <a:pt x="346" y="103"/>
                  </a:cubicBezTo>
                  <a:cubicBezTo>
                    <a:pt x="323" y="84"/>
                    <a:pt x="295" y="69"/>
                    <a:pt x="265" y="62"/>
                  </a:cubicBezTo>
                  <a:cubicBezTo>
                    <a:pt x="250" y="58"/>
                    <a:pt x="234" y="56"/>
                    <a:pt x="219" y="56"/>
                  </a:cubicBezTo>
                  <a:cubicBezTo>
                    <a:pt x="201" y="56"/>
                    <a:pt x="184" y="57"/>
                    <a:pt x="167" y="57"/>
                  </a:cubicBezTo>
                  <a:cubicBezTo>
                    <a:pt x="135" y="57"/>
                    <a:pt x="80" y="57"/>
                    <a:pt x="72" y="57"/>
                  </a:cubicBezTo>
                  <a:cubicBezTo>
                    <a:pt x="69" y="57"/>
                    <a:pt x="67" y="57"/>
                    <a:pt x="66" y="58"/>
                  </a:cubicBezTo>
                  <a:cubicBezTo>
                    <a:pt x="65" y="58"/>
                    <a:pt x="65" y="58"/>
                    <a:pt x="65" y="59"/>
                  </a:cubicBezTo>
                  <a:cubicBezTo>
                    <a:pt x="64" y="59"/>
                    <a:pt x="63" y="60"/>
                    <a:pt x="62" y="61"/>
                  </a:cubicBezTo>
                  <a:cubicBezTo>
                    <a:pt x="62" y="61"/>
                    <a:pt x="62" y="62"/>
                    <a:pt x="61" y="63"/>
                  </a:cubicBezTo>
                  <a:cubicBezTo>
                    <a:pt x="61" y="63"/>
                    <a:pt x="61" y="64"/>
                    <a:pt x="61" y="64"/>
                  </a:cubicBezTo>
                  <a:cubicBezTo>
                    <a:pt x="60" y="66"/>
                    <a:pt x="60" y="68"/>
                    <a:pt x="60" y="69"/>
                  </a:cubicBezTo>
                  <a:cubicBezTo>
                    <a:pt x="60" y="78"/>
                    <a:pt x="61" y="479"/>
                    <a:pt x="62" y="685"/>
                  </a:cubicBezTo>
                  <a:cubicBezTo>
                    <a:pt x="62" y="698"/>
                    <a:pt x="62" y="711"/>
                    <a:pt x="62" y="724"/>
                  </a:cubicBezTo>
                  <a:cubicBezTo>
                    <a:pt x="62" y="743"/>
                    <a:pt x="62" y="743"/>
                    <a:pt x="62" y="743"/>
                  </a:cubicBezTo>
                  <a:cubicBezTo>
                    <a:pt x="62" y="753"/>
                    <a:pt x="62" y="753"/>
                    <a:pt x="62" y="753"/>
                  </a:cubicBezTo>
                  <a:cubicBezTo>
                    <a:pt x="62" y="758"/>
                    <a:pt x="62" y="758"/>
                    <a:pt x="62" y="758"/>
                  </a:cubicBezTo>
                  <a:cubicBezTo>
                    <a:pt x="62" y="759"/>
                    <a:pt x="62" y="760"/>
                    <a:pt x="62" y="761"/>
                  </a:cubicBezTo>
                  <a:cubicBezTo>
                    <a:pt x="63" y="780"/>
                    <a:pt x="73" y="799"/>
                    <a:pt x="88" y="815"/>
                  </a:cubicBezTo>
                  <a:cubicBezTo>
                    <a:pt x="103" y="830"/>
                    <a:pt x="123" y="842"/>
                    <a:pt x="144" y="850"/>
                  </a:cubicBezTo>
                  <a:cubicBezTo>
                    <a:pt x="154" y="853"/>
                    <a:pt x="165" y="856"/>
                    <a:pt x="176" y="857"/>
                  </a:cubicBezTo>
                  <a:cubicBezTo>
                    <a:pt x="178" y="857"/>
                    <a:pt x="181" y="857"/>
                    <a:pt x="183" y="858"/>
                  </a:cubicBezTo>
                  <a:cubicBezTo>
                    <a:pt x="185" y="858"/>
                    <a:pt x="186" y="858"/>
                    <a:pt x="187" y="858"/>
                  </a:cubicBezTo>
                  <a:cubicBezTo>
                    <a:pt x="192" y="858"/>
                    <a:pt x="192" y="858"/>
                    <a:pt x="192" y="858"/>
                  </a:cubicBezTo>
                  <a:cubicBezTo>
                    <a:pt x="199" y="858"/>
                    <a:pt x="205" y="857"/>
                    <a:pt x="211" y="857"/>
                  </a:cubicBezTo>
                  <a:cubicBezTo>
                    <a:pt x="217" y="857"/>
                    <a:pt x="223" y="857"/>
                    <a:pt x="229" y="857"/>
                  </a:cubicBezTo>
                  <a:cubicBezTo>
                    <a:pt x="232" y="856"/>
                    <a:pt x="232" y="856"/>
                    <a:pt x="232" y="856"/>
                  </a:cubicBezTo>
                  <a:cubicBezTo>
                    <a:pt x="233" y="856"/>
                    <a:pt x="233" y="856"/>
                    <a:pt x="233" y="856"/>
                  </a:cubicBezTo>
                  <a:cubicBezTo>
                    <a:pt x="234" y="856"/>
                    <a:pt x="236" y="856"/>
                    <a:pt x="237" y="856"/>
                  </a:cubicBezTo>
                  <a:cubicBezTo>
                    <a:pt x="238" y="856"/>
                    <a:pt x="239" y="855"/>
                    <a:pt x="240" y="855"/>
                  </a:cubicBezTo>
                  <a:cubicBezTo>
                    <a:pt x="241" y="855"/>
                    <a:pt x="242" y="854"/>
                    <a:pt x="242" y="853"/>
                  </a:cubicBezTo>
                  <a:cubicBezTo>
                    <a:pt x="243" y="851"/>
                    <a:pt x="243" y="848"/>
                    <a:pt x="243" y="846"/>
                  </a:cubicBezTo>
                  <a:cubicBezTo>
                    <a:pt x="243" y="823"/>
                    <a:pt x="243" y="800"/>
                    <a:pt x="243" y="777"/>
                  </a:cubicBezTo>
                  <a:cubicBezTo>
                    <a:pt x="242" y="726"/>
                    <a:pt x="242" y="676"/>
                    <a:pt x="242" y="626"/>
                  </a:cubicBezTo>
                  <a:cubicBezTo>
                    <a:pt x="242" y="619"/>
                    <a:pt x="242" y="613"/>
                    <a:pt x="242" y="606"/>
                  </a:cubicBezTo>
                  <a:cubicBezTo>
                    <a:pt x="242" y="598"/>
                    <a:pt x="243" y="591"/>
                    <a:pt x="244" y="583"/>
                  </a:cubicBezTo>
                  <a:cubicBezTo>
                    <a:pt x="247" y="568"/>
                    <a:pt x="252" y="553"/>
                    <a:pt x="260" y="539"/>
                  </a:cubicBezTo>
                  <a:cubicBezTo>
                    <a:pt x="275" y="511"/>
                    <a:pt x="299" y="488"/>
                    <a:pt x="328" y="475"/>
                  </a:cubicBezTo>
                  <a:cubicBezTo>
                    <a:pt x="343" y="469"/>
                    <a:pt x="359" y="465"/>
                    <a:pt x="375" y="463"/>
                  </a:cubicBezTo>
                  <a:cubicBezTo>
                    <a:pt x="379" y="463"/>
                    <a:pt x="383" y="463"/>
                    <a:pt x="387" y="463"/>
                  </a:cubicBezTo>
                  <a:cubicBezTo>
                    <a:pt x="391" y="463"/>
                    <a:pt x="394" y="463"/>
                    <a:pt x="398" y="463"/>
                  </a:cubicBezTo>
                  <a:cubicBezTo>
                    <a:pt x="405" y="464"/>
                    <a:pt x="413" y="464"/>
                    <a:pt x="420" y="466"/>
                  </a:cubicBezTo>
                  <a:cubicBezTo>
                    <a:pt x="449" y="470"/>
                    <a:pt x="478" y="480"/>
                    <a:pt x="503" y="493"/>
                  </a:cubicBezTo>
                  <a:cubicBezTo>
                    <a:pt x="529" y="506"/>
                    <a:pt x="552" y="522"/>
                    <a:pt x="573" y="539"/>
                  </a:cubicBezTo>
                  <a:cubicBezTo>
                    <a:pt x="595" y="556"/>
                    <a:pt x="615" y="575"/>
                    <a:pt x="634" y="593"/>
                  </a:cubicBezTo>
                  <a:cubicBezTo>
                    <a:pt x="643" y="602"/>
                    <a:pt x="653" y="610"/>
                    <a:pt x="662" y="619"/>
                  </a:cubicBezTo>
                  <a:cubicBezTo>
                    <a:pt x="676" y="632"/>
                    <a:pt x="676" y="632"/>
                    <a:pt x="676" y="632"/>
                  </a:cubicBezTo>
                  <a:cubicBezTo>
                    <a:pt x="681" y="637"/>
                    <a:pt x="686" y="641"/>
                    <a:pt x="691" y="645"/>
                  </a:cubicBezTo>
                  <a:cubicBezTo>
                    <a:pt x="710" y="663"/>
                    <a:pt x="729" y="680"/>
                    <a:pt x="748" y="698"/>
                  </a:cubicBezTo>
                  <a:cubicBezTo>
                    <a:pt x="767" y="715"/>
                    <a:pt x="785" y="731"/>
                    <a:pt x="804" y="746"/>
                  </a:cubicBezTo>
                  <a:cubicBezTo>
                    <a:pt x="823" y="761"/>
                    <a:pt x="842" y="774"/>
                    <a:pt x="862" y="783"/>
                  </a:cubicBezTo>
                  <a:cubicBezTo>
                    <a:pt x="882" y="793"/>
                    <a:pt x="902" y="798"/>
                    <a:pt x="922" y="799"/>
                  </a:cubicBezTo>
                  <a:cubicBezTo>
                    <a:pt x="942" y="799"/>
                    <a:pt x="962" y="795"/>
                    <a:pt x="981" y="786"/>
                  </a:cubicBezTo>
                  <a:cubicBezTo>
                    <a:pt x="1000" y="778"/>
                    <a:pt x="1018" y="767"/>
                    <a:pt x="1035" y="754"/>
                  </a:cubicBezTo>
                  <a:cubicBezTo>
                    <a:pt x="1053" y="742"/>
                    <a:pt x="1069" y="728"/>
                    <a:pt x="1085" y="714"/>
                  </a:cubicBezTo>
                  <a:cubicBezTo>
                    <a:pt x="1101" y="700"/>
                    <a:pt x="1117" y="686"/>
                    <a:pt x="1133" y="672"/>
                  </a:cubicBezTo>
                  <a:cubicBezTo>
                    <a:pt x="1140" y="666"/>
                    <a:pt x="1148" y="659"/>
                    <a:pt x="1156" y="652"/>
                  </a:cubicBezTo>
                  <a:cubicBezTo>
                    <a:pt x="1159" y="649"/>
                    <a:pt x="1163" y="646"/>
                    <a:pt x="1167" y="642"/>
                  </a:cubicBezTo>
                  <a:cubicBezTo>
                    <a:pt x="1171" y="639"/>
                    <a:pt x="1174" y="636"/>
                    <a:pt x="1178" y="633"/>
                  </a:cubicBezTo>
                  <a:cubicBezTo>
                    <a:pt x="1210" y="604"/>
                    <a:pt x="1242" y="573"/>
                    <a:pt x="1277" y="546"/>
                  </a:cubicBezTo>
                  <a:cubicBezTo>
                    <a:pt x="1295" y="532"/>
                    <a:pt x="1313" y="519"/>
                    <a:pt x="1333" y="508"/>
                  </a:cubicBezTo>
                  <a:cubicBezTo>
                    <a:pt x="1352" y="497"/>
                    <a:pt x="1373" y="488"/>
                    <a:pt x="1395" y="481"/>
                  </a:cubicBezTo>
                  <a:cubicBezTo>
                    <a:pt x="1417" y="475"/>
                    <a:pt x="1440" y="472"/>
                    <a:pt x="1463" y="472"/>
                  </a:cubicBezTo>
                  <a:cubicBezTo>
                    <a:pt x="1487" y="473"/>
                    <a:pt x="1511" y="481"/>
                    <a:pt x="1531" y="493"/>
                  </a:cubicBezTo>
                  <a:cubicBezTo>
                    <a:pt x="1551" y="506"/>
                    <a:pt x="1567" y="524"/>
                    <a:pt x="1578" y="544"/>
                  </a:cubicBezTo>
                  <a:cubicBezTo>
                    <a:pt x="1589" y="564"/>
                    <a:pt x="1594" y="587"/>
                    <a:pt x="1594" y="610"/>
                  </a:cubicBezTo>
                  <a:cubicBezTo>
                    <a:pt x="1593" y="644"/>
                    <a:pt x="1593" y="676"/>
                    <a:pt x="1592" y="706"/>
                  </a:cubicBezTo>
                  <a:cubicBezTo>
                    <a:pt x="1592" y="721"/>
                    <a:pt x="1592" y="735"/>
                    <a:pt x="1592" y="749"/>
                  </a:cubicBezTo>
                  <a:cubicBezTo>
                    <a:pt x="1592" y="752"/>
                    <a:pt x="1592" y="756"/>
                    <a:pt x="1591" y="759"/>
                  </a:cubicBezTo>
                  <a:cubicBezTo>
                    <a:pt x="1591" y="762"/>
                    <a:pt x="1592" y="764"/>
                    <a:pt x="1592" y="767"/>
                  </a:cubicBezTo>
                  <a:cubicBezTo>
                    <a:pt x="1592" y="773"/>
                    <a:pt x="1594" y="778"/>
                    <a:pt x="1595" y="783"/>
                  </a:cubicBezTo>
                  <a:cubicBezTo>
                    <a:pt x="1599" y="796"/>
                    <a:pt x="1606" y="808"/>
                    <a:pt x="1614" y="818"/>
                  </a:cubicBezTo>
                  <a:cubicBezTo>
                    <a:pt x="1623" y="828"/>
                    <a:pt x="1632" y="837"/>
                    <a:pt x="1642" y="844"/>
                  </a:cubicBezTo>
                  <a:cubicBezTo>
                    <a:pt x="1647" y="848"/>
                    <a:pt x="1649" y="851"/>
                    <a:pt x="1650" y="852"/>
                  </a:cubicBezTo>
                  <a:close/>
                  <a:moveTo>
                    <a:pt x="1301" y="542"/>
                  </a:moveTo>
                  <a:cubicBezTo>
                    <a:pt x="1281" y="555"/>
                    <a:pt x="1263" y="569"/>
                    <a:pt x="1239" y="590"/>
                  </a:cubicBezTo>
                  <a:cubicBezTo>
                    <a:pt x="1224" y="603"/>
                    <a:pt x="1205" y="620"/>
                    <a:pt x="1185" y="638"/>
                  </a:cubicBezTo>
                  <a:cubicBezTo>
                    <a:pt x="1180" y="642"/>
                    <a:pt x="1175" y="647"/>
                    <a:pt x="1170" y="651"/>
                  </a:cubicBezTo>
                  <a:cubicBezTo>
                    <a:pt x="1165" y="656"/>
                    <a:pt x="1159" y="661"/>
                    <a:pt x="1154" y="665"/>
                  </a:cubicBezTo>
                  <a:cubicBezTo>
                    <a:pt x="1143" y="675"/>
                    <a:pt x="1131" y="685"/>
                    <a:pt x="1120" y="695"/>
                  </a:cubicBezTo>
                  <a:cubicBezTo>
                    <a:pt x="1094" y="718"/>
                    <a:pt x="1068" y="742"/>
                    <a:pt x="1040" y="762"/>
                  </a:cubicBezTo>
                  <a:cubicBezTo>
                    <a:pt x="1012" y="782"/>
                    <a:pt x="982" y="799"/>
                    <a:pt x="950" y="805"/>
                  </a:cubicBezTo>
                  <a:cubicBezTo>
                    <a:pt x="934" y="809"/>
                    <a:pt x="918" y="809"/>
                    <a:pt x="902" y="806"/>
                  </a:cubicBezTo>
                  <a:cubicBezTo>
                    <a:pt x="886" y="803"/>
                    <a:pt x="870" y="797"/>
                    <a:pt x="854" y="790"/>
                  </a:cubicBezTo>
                  <a:cubicBezTo>
                    <a:pt x="824" y="774"/>
                    <a:pt x="796" y="752"/>
                    <a:pt x="770" y="729"/>
                  </a:cubicBezTo>
                  <a:cubicBezTo>
                    <a:pt x="745" y="707"/>
                    <a:pt x="719" y="682"/>
                    <a:pt x="692" y="657"/>
                  </a:cubicBezTo>
                  <a:cubicBezTo>
                    <a:pt x="685" y="651"/>
                    <a:pt x="678" y="645"/>
                    <a:pt x="671" y="639"/>
                  </a:cubicBezTo>
                  <a:cubicBezTo>
                    <a:pt x="665" y="632"/>
                    <a:pt x="658" y="626"/>
                    <a:pt x="651" y="620"/>
                  </a:cubicBezTo>
                  <a:cubicBezTo>
                    <a:pt x="637" y="607"/>
                    <a:pt x="624" y="593"/>
                    <a:pt x="609" y="580"/>
                  </a:cubicBezTo>
                  <a:cubicBezTo>
                    <a:pt x="580" y="554"/>
                    <a:pt x="549" y="527"/>
                    <a:pt x="512" y="506"/>
                  </a:cubicBezTo>
                  <a:cubicBezTo>
                    <a:pt x="494" y="495"/>
                    <a:pt x="474" y="486"/>
                    <a:pt x="453" y="479"/>
                  </a:cubicBezTo>
                  <a:cubicBezTo>
                    <a:pt x="432" y="473"/>
                    <a:pt x="409" y="469"/>
                    <a:pt x="387" y="469"/>
                  </a:cubicBezTo>
                  <a:cubicBezTo>
                    <a:pt x="362" y="469"/>
                    <a:pt x="338" y="475"/>
                    <a:pt x="316" y="488"/>
                  </a:cubicBezTo>
                  <a:cubicBezTo>
                    <a:pt x="295" y="500"/>
                    <a:pt x="278" y="518"/>
                    <a:pt x="265" y="539"/>
                  </a:cubicBezTo>
                  <a:cubicBezTo>
                    <a:pt x="253" y="560"/>
                    <a:pt x="246" y="585"/>
                    <a:pt x="246" y="610"/>
                  </a:cubicBezTo>
                  <a:cubicBezTo>
                    <a:pt x="246" y="630"/>
                    <a:pt x="246" y="651"/>
                    <a:pt x="246" y="672"/>
                  </a:cubicBezTo>
                  <a:cubicBezTo>
                    <a:pt x="246" y="713"/>
                    <a:pt x="247" y="755"/>
                    <a:pt x="247" y="796"/>
                  </a:cubicBezTo>
                  <a:cubicBezTo>
                    <a:pt x="247" y="814"/>
                    <a:pt x="247" y="831"/>
                    <a:pt x="247" y="849"/>
                  </a:cubicBezTo>
                  <a:cubicBezTo>
                    <a:pt x="247" y="851"/>
                    <a:pt x="247" y="854"/>
                    <a:pt x="246" y="856"/>
                  </a:cubicBezTo>
                  <a:cubicBezTo>
                    <a:pt x="245" y="857"/>
                    <a:pt x="244" y="858"/>
                    <a:pt x="243" y="858"/>
                  </a:cubicBezTo>
                  <a:cubicBezTo>
                    <a:pt x="242" y="859"/>
                    <a:pt x="241" y="859"/>
                    <a:pt x="240" y="859"/>
                  </a:cubicBezTo>
                  <a:cubicBezTo>
                    <a:pt x="238" y="860"/>
                    <a:pt x="236" y="860"/>
                    <a:pt x="233" y="860"/>
                  </a:cubicBezTo>
                  <a:cubicBezTo>
                    <a:pt x="230" y="860"/>
                    <a:pt x="230" y="860"/>
                    <a:pt x="230" y="860"/>
                  </a:cubicBezTo>
                  <a:cubicBezTo>
                    <a:pt x="223" y="861"/>
                    <a:pt x="223" y="861"/>
                    <a:pt x="223" y="861"/>
                  </a:cubicBezTo>
                  <a:cubicBezTo>
                    <a:pt x="213" y="861"/>
                    <a:pt x="204" y="861"/>
                    <a:pt x="195" y="861"/>
                  </a:cubicBezTo>
                  <a:cubicBezTo>
                    <a:pt x="188" y="861"/>
                    <a:pt x="188" y="861"/>
                    <a:pt x="188" y="861"/>
                  </a:cubicBezTo>
                  <a:cubicBezTo>
                    <a:pt x="185" y="861"/>
                    <a:pt x="184" y="861"/>
                    <a:pt x="181" y="861"/>
                  </a:cubicBezTo>
                  <a:cubicBezTo>
                    <a:pt x="177" y="861"/>
                    <a:pt x="173" y="861"/>
                    <a:pt x="169" y="860"/>
                  </a:cubicBezTo>
                  <a:cubicBezTo>
                    <a:pt x="153" y="858"/>
                    <a:pt x="137" y="852"/>
                    <a:pt x="121" y="844"/>
                  </a:cubicBezTo>
                  <a:cubicBezTo>
                    <a:pt x="106" y="836"/>
                    <a:pt x="93" y="826"/>
                    <a:pt x="81" y="813"/>
                  </a:cubicBezTo>
                  <a:cubicBezTo>
                    <a:pt x="70" y="801"/>
                    <a:pt x="62" y="787"/>
                    <a:pt x="59" y="771"/>
                  </a:cubicBezTo>
                  <a:cubicBezTo>
                    <a:pt x="59" y="768"/>
                    <a:pt x="58" y="764"/>
                    <a:pt x="58" y="760"/>
                  </a:cubicBezTo>
                  <a:cubicBezTo>
                    <a:pt x="58" y="757"/>
                    <a:pt x="58" y="757"/>
                    <a:pt x="58" y="757"/>
                  </a:cubicBezTo>
                  <a:cubicBezTo>
                    <a:pt x="58" y="753"/>
                    <a:pt x="58" y="753"/>
                    <a:pt x="58" y="753"/>
                  </a:cubicBezTo>
                  <a:cubicBezTo>
                    <a:pt x="58" y="746"/>
                    <a:pt x="58" y="746"/>
                    <a:pt x="58" y="746"/>
                  </a:cubicBezTo>
                  <a:cubicBezTo>
                    <a:pt x="58" y="736"/>
                    <a:pt x="58" y="726"/>
                    <a:pt x="58" y="717"/>
                  </a:cubicBezTo>
                  <a:cubicBezTo>
                    <a:pt x="58" y="697"/>
                    <a:pt x="58" y="677"/>
                    <a:pt x="57" y="657"/>
                  </a:cubicBezTo>
                  <a:cubicBezTo>
                    <a:pt x="57" y="618"/>
                    <a:pt x="57" y="578"/>
                    <a:pt x="57" y="538"/>
                  </a:cubicBezTo>
                  <a:cubicBezTo>
                    <a:pt x="57" y="400"/>
                    <a:pt x="56" y="143"/>
                    <a:pt x="55" y="81"/>
                  </a:cubicBezTo>
                  <a:cubicBezTo>
                    <a:pt x="55" y="72"/>
                    <a:pt x="56" y="68"/>
                    <a:pt x="56" y="67"/>
                  </a:cubicBezTo>
                  <a:cubicBezTo>
                    <a:pt x="56" y="58"/>
                    <a:pt x="56" y="53"/>
                    <a:pt x="70" y="53"/>
                  </a:cubicBezTo>
                  <a:cubicBezTo>
                    <a:pt x="89" y="53"/>
                    <a:pt x="122" y="52"/>
                    <a:pt x="148" y="52"/>
                  </a:cubicBezTo>
                  <a:cubicBezTo>
                    <a:pt x="162" y="52"/>
                    <a:pt x="176" y="52"/>
                    <a:pt x="190" y="52"/>
                  </a:cubicBezTo>
                  <a:cubicBezTo>
                    <a:pt x="197" y="52"/>
                    <a:pt x="204" y="52"/>
                    <a:pt x="211" y="52"/>
                  </a:cubicBezTo>
                  <a:cubicBezTo>
                    <a:pt x="222" y="52"/>
                    <a:pt x="222" y="52"/>
                    <a:pt x="222" y="52"/>
                  </a:cubicBezTo>
                  <a:cubicBezTo>
                    <a:pt x="225" y="52"/>
                    <a:pt x="228" y="52"/>
                    <a:pt x="231" y="53"/>
                  </a:cubicBezTo>
                  <a:cubicBezTo>
                    <a:pt x="257" y="54"/>
                    <a:pt x="282" y="61"/>
                    <a:pt x="306" y="72"/>
                  </a:cubicBezTo>
                  <a:cubicBezTo>
                    <a:pt x="317" y="78"/>
                    <a:pt x="328" y="84"/>
                    <a:pt x="339" y="92"/>
                  </a:cubicBezTo>
                  <a:cubicBezTo>
                    <a:pt x="344" y="95"/>
                    <a:pt x="349" y="99"/>
                    <a:pt x="353" y="104"/>
                  </a:cubicBezTo>
                  <a:cubicBezTo>
                    <a:pt x="358" y="108"/>
                    <a:pt x="363" y="113"/>
                    <a:pt x="368" y="117"/>
                  </a:cubicBezTo>
                  <a:cubicBezTo>
                    <a:pt x="408" y="155"/>
                    <a:pt x="448" y="191"/>
                    <a:pt x="487" y="228"/>
                  </a:cubicBezTo>
                  <a:cubicBezTo>
                    <a:pt x="506" y="246"/>
                    <a:pt x="525" y="264"/>
                    <a:pt x="544" y="281"/>
                  </a:cubicBezTo>
                  <a:cubicBezTo>
                    <a:pt x="552" y="288"/>
                    <a:pt x="552" y="288"/>
                    <a:pt x="552" y="288"/>
                  </a:cubicBezTo>
                  <a:cubicBezTo>
                    <a:pt x="555" y="291"/>
                    <a:pt x="555" y="291"/>
                    <a:pt x="555" y="291"/>
                  </a:cubicBezTo>
                  <a:cubicBezTo>
                    <a:pt x="558" y="295"/>
                    <a:pt x="558" y="295"/>
                    <a:pt x="558" y="295"/>
                  </a:cubicBezTo>
                  <a:cubicBezTo>
                    <a:pt x="563" y="299"/>
                    <a:pt x="568" y="304"/>
                    <a:pt x="573" y="308"/>
                  </a:cubicBezTo>
                  <a:cubicBezTo>
                    <a:pt x="583" y="317"/>
                    <a:pt x="593" y="326"/>
                    <a:pt x="604" y="334"/>
                  </a:cubicBezTo>
                  <a:cubicBezTo>
                    <a:pt x="641" y="362"/>
                    <a:pt x="680" y="382"/>
                    <a:pt x="716" y="397"/>
                  </a:cubicBezTo>
                  <a:cubicBezTo>
                    <a:pt x="752" y="411"/>
                    <a:pt x="786" y="420"/>
                    <a:pt x="815" y="425"/>
                  </a:cubicBezTo>
                  <a:cubicBezTo>
                    <a:pt x="843" y="430"/>
                    <a:pt x="868" y="432"/>
                    <a:pt x="886" y="432"/>
                  </a:cubicBezTo>
                  <a:cubicBezTo>
                    <a:pt x="904" y="433"/>
                    <a:pt x="916" y="432"/>
                    <a:pt x="922" y="432"/>
                  </a:cubicBezTo>
                  <a:cubicBezTo>
                    <a:pt x="944" y="431"/>
                    <a:pt x="960" y="428"/>
                    <a:pt x="971" y="426"/>
                  </a:cubicBezTo>
                  <a:cubicBezTo>
                    <a:pt x="982" y="424"/>
                    <a:pt x="988" y="423"/>
                    <a:pt x="989" y="422"/>
                  </a:cubicBezTo>
                  <a:cubicBezTo>
                    <a:pt x="989" y="420"/>
                    <a:pt x="985" y="420"/>
                    <a:pt x="975" y="420"/>
                  </a:cubicBezTo>
                  <a:cubicBezTo>
                    <a:pt x="965" y="420"/>
                    <a:pt x="952" y="420"/>
                    <a:pt x="928" y="419"/>
                  </a:cubicBezTo>
                  <a:cubicBezTo>
                    <a:pt x="899" y="418"/>
                    <a:pt x="856" y="415"/>
                    <a:pt x="804" y="402"/>
                  </a:cubicBezTo>
                  <a:cubicBezTo>
                    <a:pt x="778" y="395"/>
                    <a:pt x="749" y="386"/>
                    <a:pt x="720" y="373"/>
                  </a:cubicBezTo>
                  <a:cubicBezTo>
                    <a:pt x="690" y="359"/>
                    <a:pt x="659" y="342"/>
                    <a:pt x="630" y="320"/>
                  </a:cubicBezTo>
                  <a:cubicBezTo>
                    <a:pt x="615" y="308"/>
                    <a:pt x="600" y="296"/>
                    <a:pt x="585" y="282"/>
                  </a:cubicBezTo>
                  <a:cubicBezTo>
                    <a:pt x="582" y="279"/>
                    <a:pt x="578" y="275"/>
                    <a:pt x="575" y="272"/>
                  </a:cubicBezTo>
                  <a:cubicBezTo>
                    <a:pt x="571" y="268"/>
                    <a:pt x="567" y="265"/>
                    <a:pt x="563" y="261"/>
                  </a:cubicBezTo>
                  <a:cubicBezTo>
                    <a:pt x="556" y="254"/>
                    <a:pt x="548" y="246"/>
                    <a:pt x="540" y="239"/>
                  </a:cubicBezTo>
                  <a:cubicBezTo>
                    <a:pt x="510" y="209"/>
                    <a:pt x="477" y="178"/>
                    <a:pt x="443" y="145"/>
                  </a:cubicBezTo>
                  <a:cubicBezTo>
                    <a:pt x="426" y="129"/>
                    <a:pt x="409" y="112"/>
                    <a:pt x="391" y="95"/>
                  </a:cubicBezTo>
                  <a:cubicBezTo>
                    <a:pt x="386" y="91"/>
                    <a:pt x="382" y="87"/>
                    <a:pt x="377" y="83"/>
                  </a:cubicBezTo>
                  <a:cubicBezTo>
                    <a:pt x="372" y="78"/>
                    <a:pt x="367" y="74"/>
                    <a:pt x="362" y="70"/>
                  </a:cubicBezTo>
                  <a:cubicBezTo>
                    <a:pt x="352" y="61"/>
                    <a:pt x="340" y="54"/>
                    <a:pt x="328" y="47"/>
                  </a:cubicBezTo>
                  <a:cubicBezTo>
                    <a:pt x="304" y="35"/>
                    <a:pt x="278" y="25"/>
                    <a:pt x="250" y="21"/>
                  </a:cubicBezTo>
                  <a:cubicBezTo>
                    <a:pt x="243" y="20"/>
                    <a:pt x="236" y="20"/>
                    <a:pt x="229" y="19"/>
                  </a:cubicBezTo>
                  <a:cubicBezTo>
                    <a:pt x="224" y="19"/>
                    <a:pt x="224" y="19"/>
                    <a:pt x="224" y="19"/>
                  </a:cubicBezTo>
                  <a:cubicBezTo>
                    <a:pt x="222" y="19"/>
                    <a:pt x="220" y="19"/>
                    <a:pt x="218" y="19"/>
                  </a:cubicBezTo>
                  <a:cubicBezTo>
                    <a:pt x="215" y="19"/>
                    <a:pt x="212" y="19"/>
                    <a:pt x="208" y="19"/>
                  </a:cubicBezTo>
                  <a:cubicBezTo>
                    <a:pt x="195" y="19"/>
                    <a:pt x="181" y="19"/>
                    <a:pt x="168" y="18"/>
                  </a:cubicBezTo>
                  <a:cubicBezTo>
                    <a:pt x="131" y="18"/>
                    <a:pt x="94" y="18"/>
                    <a:pt x="56" y="18"/>
                  </a:cubicBezTo>
                  <a:cubicBezTo>
                    <a:pt x="34" y="19"/>
                    <a:pt x="21" y="34"/>
                    <a:pt x="21" y="53"/>
                  </a:cubicBezTo>
                  <a:cubicBezTo>
                    <a:pt x="21" y="71"/>
                    <a:pt x="20" y="142"/>
                    <a:pt x="20" y="186"/>
                  </a:cubicBezTo>
                  <a:cubicBezTo>
                    <a:pt x="19" y="304"/>
                    <a:pt x="19" y="424"/>
                    <a:pt x="18" y="545"/>
                  </a:cubicBezTo>
                  <a:cubicBezTo>
                    <a:pt x="18" y="605"/>
                    <a:pt x="18" y="665"/>
                    <a:pt x="18" y="726"/>
                  </a:cubicBezTo>
                  <a:cubicBezTo>
                    <a:pt x="18" y="748"/>
                    <a:pt x="18" y="748"/>
                    <a:pt x="18" y="748"/>
                  </a:cubicBezTo>
                  <a:cubicBezTo>
                    <a:pt x="18" y="760"/>
                    <a:pt x="18" y="760"/>
                    <a:pt x="18" y="760"/>
                  </a:cubicBezTo>
                  <a:cubicBezTo>
                    <a:pt x="18" y="764"/>
                    <a:pt x="19" y="769"/>
                    <a:pt x="19" y="774"/>
                  </a:cubicBezTo>
                  <a:cubicBezTo>
                    <a:pt x="22" y="792"/>
                    <a:pt x="29" y="809"/>
                    <a:pt x="39" y="823"/>
                  </a:cubicBezTo>
                  <a:cubicBezTo>
                    <a:pt x="48" y="838"/>
                    <a:pt x="60" y="850"/>
                    <a:pt x="73" y="861"/>
                  </a:cubicBezTo>
                  <a:cubicBezTo>
                    <a:pt x="86" y="871"/>
                    <a:pt x="101" y="880"/>
                    <a:pt x="116" y="887"/>
                  </a:cubicBezTo>
                  <a:cubicBezTo>
                    <a:pt x="131" y="893"/>
                    <a:pt x="147" y="898"/>
                    <a:pt x="164" y="901"/>
                  </a:cubicBezTo>
                  <a:cubicBezTo>
                    <a:pt x="168" y="901"/>
                    <a:pt x="172" y="902"/>
                    <a:pt x="177" y="902"/>
                  </a:cubicBezTo>
                  <a:cubicBezTo>
                    <a:pt x="179" y="902"/>
                    <a:pt x="181" y="902"/>
                    <a:pt x="183" y="902"/>
                  </a:cubicBezTo>
                  <a:cubicBezTo>
                    <a:pt x="189" y="902"/>
                    <a:pt x="189" y="902"/>
                    <a:pt x="189" y="902"/>
                  </a:cubicBezTo>
                  <a:cubicBezTo>
                    <a:pt x="197" y="902"/>
                    <a:pt x="204" y="902"/>
                    <a:pt x="212" y="902"/>
                  </a:cubicBezTo>
                  <a:cubicBezTo>
                    <a:pt x="223" y="902"/>
                    <a:pt x="223" y="902"/>
                    <a:pt x="223" y="902"/>
                  </a:cubicBezTo>
                  <a:cubicBezTo>
                    <a:pt x="229" y="902"/>
                    <a:pt x="229" y="902"/>
                    <a:pt x="229" y="902"/>
                  </a:cubicBezTo>
                  <a:cubicBezTo>
                    <a:pt x="236" y="901"/>
                    <a:pt x="236" y="901"/>
                    <a:pt x="236" y="901"/>
                  </a:cubicBezTo>
                  <a:cubicBezTo>
                    <a:pt x="247" y="901"/>
                    <a:pt x="258" y="899"/>
                    <a:pt x="268" y="896"/>
                  </a:cubicBezTo>
                  <a:cubicBezTo>
                    <a:pt x="272" y="894"/>
                    <a:pt x="277" y="891"/>
                    <a:pt x="280" y="886"/>
                  </a:cubicBezTo>
                  <a:cubicBezTo>
                    <a:pt x="283" y="882"/>
                    <a:pt x="285" y="878"/>
                    <a:pt x="286" y="873"/>
                  </a:cubicBezTo>
                  <a:cubicBezTo>
                    <a:pt x="287" y="870"/>
                    <a:pt x="287" y="868"/>
                    <a:pt x="288" y="865"/>
                  </a:cubicBezTo>
                  <a:cubicBezTo>
                    <a:pt x="288" y="862"/>
                    <a:pt x="288" y="860"/>
                    <a:pt x="288" y="857"/>
                  </a:cubicBezTo>
                  <a:cubicBezTo>
                    <a:pt x="288" y="841"/>
                    <a:pt x="288" y="841"/>
                    <a:pt x="288" y="841"/>
                  </a:cubicBezTo>
                  <a:cubicBezTo>
                    <a:pt x="288" y="782"/>
                    <a:pt x="288" y="724"/>
                    <a:pt x="288" y="666"/>
                  </a:cubicBezTo>
                  <a:cubicBezTo>
                    <a:pt x="288" y="652"/>
                    <a:pt x="288" y="638"/>
                    <a:pt x="288" y="623"/>
                  </a:cubicBezTo>
                  <a:cubicBezTo>
                    <a:pt x="288" y="616"/>
                    <a:pt x="287" y="609"/>
                    <a:pt x="288" y="603"/>
                  </a:cubicBezTo>
                  <a:cubicBezTo>
                    <a:pt x="288" y="597"/>
                    <a:pt x="289" y="591"/>
                    <a:pt x="290" y="586"/>
                  </a:cubicBezTo>
                  <a:cubicBezTo>
                    <a:pt x="296" y="562"/>
                    <a:pt x="310" y="541"/>
                    <a:pt x="329" y="528"/>
                  </a:cubicBezTo>
                  <a:cubicBezTo>
                    <a:pt x="339" y="521"/>
                    <a:pt x="349" y="515"/>
                    <a:pt x="360" y="512"/>
                  </a:cubicBezTo>
                  <a:cubicBezTo>
                    <a:pt x="366" y="511"/>
                    <a:pt x="372" y="510"/>
                    <a:pt x="377" y="509"/>
                  </a:cubicBezTo>
                  <a:cubicBezTo>
                    <a:pt x="380" y="509"/>
                    <a:pt x="383" y="509"/>
                    <a:pt x="386" y="509"/>
                  </a:cubicBezTo>
                  <a:cubicBezTo>
                    <a:pt x="389" y="509"/>
                    <a:pt x="392" y="509"/>
                    <a:pt x="395" y="509"/>
                  </a:cubicBezTo>
                  <a:cubicBezTo>
                    <a:pt x="420" y="510"/>
                    <a:pt x="445" y="516"/>
                    <a:pt x="468" y="526"/>
                  </a:cubicBezTo>
                  <a:cubicBezTo>
                    <a:pt x="491" y="536"/>
                    <a:pt x="512" y="549"/>
                    <a:pt x="532" y="564"/>
                  </a:cubicBezTo>
                  <a:cubicBezTo>
                    <a:pt x="553" y="579"/>
                    <a:pt x="572" y="596"/>
                    <a:pt x="590" y="612"/>
                  </a:cubicBezTo>
                  <a:cubicBezTo>
                    <a:pt x="609" y="629"/>
                    <a:pt x="627" y="646"/>
                    <a:pt x="646" y="663"/>
                  </a:cubicBezTo>
                  <a:cubicBezTo>
                    <a:pt x="655" y="671"/>
                    <a:pt x="664" y="679"/>
                    <a:pt x="673" y="687"/>
                  </a:cubicBezTo>
                  <a:cubicBezTo>
                    <a:pt x="682" y="695"/>
                    <a:pt x="691" y="703"/>
                    <a:pt x="700" y="711"/>
                  </a:cubicBezTo>
                  <a:cubicBezTo>
                    <a:pt x="736" y="742"/>
                    <a:pt x="770" y="774"/>
                    <a:pt x="808" y="798"/>
                  </a:cubicBezTo>
                  <a:cubicBezTo>
                    <a:pt x="828" y="811"/>
                    <a:pt x="848" y="821"/>
                    <a:pt x="869" y="828"/>
                  </a:cubicBezTo>
                  <a:cubicBezTo>
                    <a:pt x="890" y="835"/>
                    <a:pt x="913" y="838"/>
                    <a:pt x="934" y="836"/>
                  </a:cubicBezTo>
                  <a:cubicBezTo>
                    <a:pt x="956" y="834"/>
                    <a:pt x="976" y="828"/>
                    <a:pt x="994" y="820"/>
                  </a:cubicBezTo>
                  <a:cubicBezTo>
                    <a:pt x="1012" y="811"/>
                    <a:pt x="1028" y="801"/>
                    <a:pt x="1043" y="791"/>
                  </a:cubicBezTo>
                  <a:cubicBezTo>
                    <a:pt x="1072" y="770"/>
                    <a:pt x="1096" y="747"/>
                    <a:pt x="1119" y="727"/>
                  </a:cubicBezTo>
                  <a:cubicBezTo>
                    <a:pt x="1140" y="706"/>
                    <a:pt x="1160" y="687"/>
                    <a:pt x="1179" y="670"/>
                  </a:cubicBezTo>
                  <a:cubicBezTo>
                    <a:pt x="1197" y="653"/>
                    <a:pt x="1212" y="637"/>
                    <a:pt x="1226" y="623"/>
                  </a:cubicBezTo>
                  <a:cubicBezTo>
                    <a:pt x="1247" y="602"/>
                    <a:pt x="1259" y="589"/>
                    <a:pt x="1272" y="577"/>
                  </a:cubicBezTo>
                  <a:cubicBezTo>
                    <a:pt x="1291" y="559"/>
                    <a:pt x="1304" y="547"/>
                    <a:pt x="1309" y="541"/>
                  </a:cubicBezTo>
                  <a:cubicBezTo>
                    <a:pt x="1314" y="536"/>
                    <a:pt x="1312" y="535"/>
                    <a:pt x="1301" y="542"/>
                  </a:cubicBezTo>
                  <a:close/>
                  <a:moveTo>
                    <a:pt x="1834" y="859"/>
                  </a:moveTo>
                  <a:cubicBezTo>
                    <a:pt x="1834" y="862"/>
                    <a:pt x="1835" y="865"/>
                    <a:pt x="1834" y="868"/>
                  </a:cubicBezTo>
                  <a:cubicBezTo>
                    <a:pt x="1834" y="871"/>
                    <a:pt x="1833" y="874"/>
                    <a:pt x="1832" y="877"/>
                  </a:cubicBezTo>
                  <a:cubicBezTo>
                    <a:pt x="1831" y="882"/>
                    <a:pt x="1828" y="887"/>
                    <a:pt x="1824" y="892"/>
                  </a:cubicBezTo>
                  <a:cubicBezTo>
                    <a:pt x="1822" y="894"/>
                    <a:pt x="1820" y="896"/>
                    <a:pt x="1818" y="898"/>
                  </a:cubicBezTo>
                  <a:cubicBezTo>
                    <a:pt x="1816" y="900"/>
                    <a:pt x="1813" y="901"/>
                    <a:pt x="1810" y="902"/>
                  </a:cubicBezTo>
                  <a:cubicBezTo>
                    <a:pt x="1805" y="905"/>
                    <a:pt x="1799" y="906"/>
                    <a:pt x="1793" y="907"/>
                  </a:cubicBezTo>
                  <a:cubicBezTo>
                    <a:pt x="1786" y="908"/>
                    <a:pt x="1779" y="909"/>
                    <a:pt x="1773" y="909"/>
                  </a:cubicBezTo>
                  <a:cubicBezTo>
                    <a:pt x="1769" y="910"/>
                    <a:pt x="1764" y="910"/>
                    <a:pt x="1760" y="910"/>
                  </a:cubicBezTo>
                  <a:cubicBezTo>
                    <a:pt x="1752" y="910"/>
                    <a:pt x="1743" y="911"/>
                    <a:pt x="1735" y="911"/>
                  </a:cubicBezTo>
                  <a:cubicBezTo>
                    <a:pt x="1732" y="911"/>
                    <a:pt x="1730" y="911"/>
                    <a:pt x="1728" y="911"/>
                  </a:cubicBezTo>
                  <a:cubicBezTo>
                    <a:pt x="1725" y="911"/>
                    <a:pt x="1723" y="911"/>
                    <a:pt x="1720" y="911"/>
                  </a:cubicBezTo>
                  <a:cubicBezTo>
                    <a:pt x="1715" y="911"/>
                    <a:pt x="1710" y="910"/>
                    <a:pt x="1704" y="910"/>
                  </a:cubicBezTo>
                  <a:cubicBezTo>
                    <a:pt x="1685" y="907"/>
                    <a:pt x="1665" y="901"/>
                    <a:pt x="1645" y="892"/>
                  </a:cubicBezTo>
                  <a:cubicBezTo>
                    <a:pt x="1625" y="882"/>
                    <a:pt x="1605" y="869"/>
                    <a:pt x="1587" y="851"/>
                  </a:cubicBezTo>
                  <a:cubicBezTo>
                    <a:pt x="1578" y="842"/>
                    <a:pt x="1570" y="831"/>
                    <a:pt x="1563" y="819"/>
                  </a:cubicBezTo>
                  <a:cubicBezTo>
                    <a:pt x="1556" y="807"/>
                    <a:pt x="1550" y="793"/>
                    <a:pt x="1548" y="777"/>
                  </a:cubicBezTo>
                  <a:cubicBezTo>
                    <a:pt x="1547" y="773"/>
                    <a:pt x="1546" y="769"/>
                    <a:pt x="1546" y="765"/>
                  </a:cubicBezTo>
                  <a:cubicBezTo>
                    <a:pt x="1546" y="763"/>
                    <a:pt x="1546" y="761"/>
                    <a:pt x="1546" y="759"/>
                  </a:cubicBezTo>
                  <a:cubicBezTo>
                    <a:pt x="1546" y="755"/>
                    <a:pt x="1546" y="755"/>
                    <a:pt x="1546" y="755"/>
                  </a:cubicBezTo>
                  <a:cubicBezTo>
                    <a:pt x="1546" y="749"/>
                    <a:pt x="1546" y="743"/>
                    <a:pt x="1546" y="737"/>
                  </a:cubicBezTo>
                  <a:cubicBezTo>
                    <a:pt x="1545" y="725"/>
                    <a:pt x="1545" y="713"/>
                    <a:pt x="1545" y="700"/>
                  </a:cubicBezTo>
                  <a:cubicBezTo>
                    <a:pt x="1545" y="676"/>
                    <a:pt x="1545" y="650"/>
                    <a:pt x="1544" y="624"/>
                  </a:cubicBezTo>
                  <a:cubicBezTo>
                    <a:pt x="1544" y="620"/>
                    <a:pt x="1544" y="617"/>
                    <a:pt x="1544" y="614"/>
                  </a:cubicBezTo>
                  <a:cubicBezTo>
                    <a:pt x="1544" y="609"/>
                    <a:pt x="1544" y="609"/>
                    <a:pt x="1544" y="609"/>
                  </a:cubicBezTo>
                  <a:cubicBezTo>
                    <a:pt x="1544" y="608"/>
                    <a:pt x="1544" y="607"/>
                    <a:pt x="1544" y="605"/>
                  </a:cubicBezTo>
                  <a:cubicBezTo>
                    <a:pt x="1544" y="601"/>
                    <a:pt x="1543" y="596"/>
                    <a:pt x="1542" y="591"/>
                  </a:cubicBezTo>
                  <a:cubicBezTo>
                    <a:pt x="1540" y="582"/>
                    <a:pt x="1536" y="572"/>
                    <a:pt x="1531" y="564"/>
                  </a:cubicBezTo>
                  <a:cubicBezTo>
                    <a:pt x="1520" y="547"/>
                    <a:pt x="1503" y="534"/>
                    <a:pt x="1483" y="529"/>
                  </a:cubicBezTo>
                  <a:cubicBezTo>
                    <a:pt x="1478" y="527"/>
                    <a:pt x="1473" y="526"/>
                    <a:pt x="1468" y="526"/>
                  </a:cubicBezTo>
                  <a:cubicBezTo>
                    <a:pt x="1466" y="526"/>
                    <a:pt x="1463" y="525"/>
                    <a:pt x="1461" y="525"/>
                  </a:cubicBezTo>
                  <a:cubicBezTo>
                    <a:pt x="1458" y="525"/>
                    <a:pt x="1455" y="526"/>
                    <a:pt x="1452" y="526"/>
                  </a:cubicBezTo>
                  <a:cubicBezTo>
                    <a:pt x="1439" y="527"/>
                    <a:pt x="1427" y="529"/>
                    <a:pt x="1415" y="532"/>
                  </a:cubicBezTo>
                  <a:cubicBezTo>
                    <a:pt x="1391" y="539"/>
                    <a:pt x="1366" y="551"/>
                    <a:pt x="1343" y="567"/>
                  </a:cubicBezTo>
                  <a:cubicBezTo>
                    <a:pt x="1320" y="582"/>
                    <a:pt x="1297" y="601"/>
                    <a:pt x="1275" y="622"/>
                  </a:cubicBezTo>
                  <a:cubicBezTo>
                    <a:pt x="1252" y="643"/>
                    <a:pt x="1229" y="666"/>
                    <a:pt x="1204" y="688"/>
                  </a:cubicBezTo>
                  <a:cubicBezTo>
                    <a:pt x="1181" y="709"/>
                    <a:pt x="1157" y="731"/>
                    <a:pt x="1132" y="753"/>
                  </a:cubicBezTo>
                  <a:cubicBezTo>
                    <a:pt x="1108" y="775"/>
                    <a:pt x="1082" y="798"/>
                    <a:pt x="1052" y="818"/>
                  </a:cubicBezTo>
                  <a:cubicBezTo>
                    <a:pt x="1037" y="828"/>
                    <a:pt x="1021" y="837"/>
                    <a:pt x="1003" y="845"/>
                  </a:cubicBezTo>
                  <a:cubicBezTo>
                    <a:pt x="985" y="853"/>
                    <a:pt x="966" y="859"/>
                    <a:pt x="945" y="861"/>
                  </a:cubicBezTo>
                  <a:cubicBezTo>
                    <a:pt x="925" y="863"/>
                    <a:pt x="904" y="862"/>
                    <a:pt x="884" y="858"/>
                  </a:cubicBezTo>
                  <a:cubicBezTo>
                    <a:pt x="864" y="854"/>
                    <a:pt x="845" y="847"/>
                    <a:pt x="829" y="839"/>
                  </a:cubicBezTo>
                  <a:cubicBezTo>
                    <a:pt x="795" y="822"/>
                    <a:pt x="767" y="800"/>
                    <a:pt x="741" y="778"/>
                  </a:cubicBezTo>
                  <a:cubicBezTo>
                    <a:pt x="715" y="757"/>
                    <a:pt x="691" y="735"/>
                    <a:pt x="668" y="714"/>
                  </a:cubicBezTo>
                  <a:cubicBezTo>
                    <a:pt x="656" y="703"/>
                    <a:pt x="644" y="693"/>
                    <a:pt x="633" y="682"/>
                  </a:cubicBezTo>
                  <a:cubicBezTo>
                    <a:pt x="621" y="671"/>
                    <a:pt x="609" y="661"/>
                    <a:pt x="598" y="650"/>
                  </a:cubicBezTo>
                  <a:cubicBezTo>
                    <a:pt x="575" y="629"/>
                    <a:pt x="554" y="609"/>
                    <a:pt x="532" y="592"/>
                  </a:cubicBezTo>
                  <a:cubicBezTo>
                    <a:pt x="510" y="574"/>
                    <a:pt x="487" y="559"/>
                    <a:pt x="465" y="549"/>
                  </a:cubicBezTo>
                  <a:cubicBezTo>
                    <a:pt x="442" y="538"/>
                    <a:pt x="419" y="532"/>
                    <a:pt x="397" y="530"/>
                  </a:cubicBezTo>
                  <a:cubicBezTo>
                    <a:pt x="392" y="530"/>
                    <a:pt x="385" y="530"/>
                    <a:pt x="381" y="530"/>
                  </a:cubicBezTo>
                  <a:cubicBezTo>
                    <a:pt x="377" y="530"/>
                    <a:pt x="372" y="531"/>
                    <a:pt x="368" y="532"/>
                  </a:cubicBezTo>
                  <a:cubicBezTo>
                    <a:pt x="360" y="534"/>
                    <a:pt x="351" y="538"/>
                    <a:pt x="344" y="542"/>
                  </a:cubicBezTo>
                  <a:cubicBezTo>
                    <a:pt x="329" y="552"/>
                    <a:pt x="318" y="566"/>
                    <a:pt x="313" y="582"/>
                  </a:cubicBezTo>
                  <a:cubicBezTo>
                    <a:pt x="310" y="589"/>
                    <a:pt x="308" y="597"/>
                    <a:pt x="308" y="605"/>
                  </a:cubicBezTo>
                  <a:cubicBezTo>
                    <a:pt x="308" y="606"/>
                    <a:pt x="308" y="607"/>
                    <a:pt x="308" y="608"/>
                  </a:cubicBezTo>
                  <a:cubicBezTo>
                    <a:pt x="308" y="612"/>
                    <a:pt x="308" y="612"/>
                    <a:pt x="308" y="612"/>
                  </a:cubicBezTo>
                  <a:cubicBezTo>
                    <a:pt x="308" y="615"/>
                    <a:pt x="308" y="618"/>
                    <a:pt x="308" y="620"/>
                  </a:cubicBezTo>
                  <a:cubicBezTo>
                    <a:pt x="308" y="626"/>
                    <a:pt x="308" y="632"/>
                    <a:pt x="308" y="637"/>
                  </a:cubicBezTo>
                  <a:cubicBezTo>
                    <a:pt x="308" y="682"/>
                    <a:pt x="308" y="723"/>
                    <a:pt x="308" y="759"/>
                  </a:cubicBezTo>
                  <a:cubicBezTo>
                    <a:pt x="308" y="777"/>
                    <a:pt x="308" y="794"/>
                    <a:pt x="307" y="809"/>
                  </a:cubicBezTo>
                  <a:cubicBezTo>
                    <a:pt x="307" y="817"/>
                    <a:pt x="307" y="824"/>
                    <a:pt x="307" y="831"/>
                  </a:cubicBezTo>
                  <a:cubicBezTo>
                    <a:pt x="307" y="835"/>
                    <a:pt x="307" y="838"/>
                    <a:pt x="307" y="841"/>
                  </a:cubicBezTo>
                  <a:cubicBezTo>
                    <a:pt x="307" y="848"/>
                    <a:pt x="307" y="854"/>
                    <a:pt x="307" y="860"/>
                  </a:cubicBezTo>
                  <a:cubicBezTo>
                    <a:pt x="308" y="872"/>
                    <a:pt x="305" y="883"/>
                    <a:pt x="300" y="891"/>
                  </a:cubicBezTo>
                  <a:cubicBezTo>
                    <a:pt x="295" y="900"/>
                    <a:pt x="287" y="907"/>
                    <a:pt x="280" y="911"/>
                  </a:cubicBezTo>
                  <a:cubicBezTo>
                    <a:pt x="273" y="915"/>
                    <a:pt x="265" y="917"/>
                    <a:pt x="257" y="918"/>
                  </a:cubicBezTo>
                  <a:cubicBezTo>
                    <a:pt x="249" y="919"/>
                    <a:pt x="242" y="920"/>
                    <a:pt x="235" y="920"/>
                  </a:cubicBezTo>
                  <a:cubicBezTo>
                    <a:pt x="232" y="920"/>
                    <a:pt x="228" y="921"/>
                    <a:pt x="226" y="921"/>
                  </a:cubicBezTo>
                  <a:cubicBezTo>
                    <a:pt x="223" y="921"/>
                    <a:pt x="221" y="921"/>
                    <a:pt x="219" y="921"/>
                  </a:cubicBezTo>
                  <a:cubicBezTo>
                    <a:pt x="216" y="921"/>
                    <a:pt x="215" y="921"/>
                    <a:pt x="215" y="921"/>
                  </a:cubicBezTo>
                  <a:cubicBezTo>
                    <a:pt x="208" y="921"/>
                    <a:pt x="200" y="921"/>
                    <a:pt x="192" y="921"/>
                  </a:cubicBezTo>
                  <a:cubicBezTo>
                    <a:pt x="190" y="921"/>
                    <a:pt x="188" y="921"/>
                    <a:pt x="186" y="921"/>
                  </a:cubicBezTo>
                  <a:cubicBezTo>
                    <a:pt x="183" y="921"/>
                    <a:pt x="181" y="921"/>
                    <a:pt x="178" y="921"/>
                  </a:cubicBezTo>
                  <a:cubicBezTo>
                    <a:pt x="173" y="921"/>
                    <a:pt x="168" y="920"/>
                    <a:pt x="163" y="920"/>
                  </a:cubicBezTo>
                  <a:cubicBezTo>
                    <a:pt x="143" y="917"/>
                    <a:pt x="124" y="911"/>
                    <a:pt x="105" y="902"/>
                  </a:cubicBezTo>
                  <a:cubicBezTo>
                    <a:pt x="87" y="894"/>
                    <a:pt x="69" y="882"/>
                    <a:pt x="53" y="868"/>
                  </a:cubicBezTo>
                  <a:cubicBezTo>
                    <a:pt x="37" y="853"/>
                    <a:pt x="22" y="835"/>
                    <a:pt x="12" y="812"/>
                  </a:cubicBezTo>
                  <a:cubicBezTo>
                    <a:pt x="7" y="801"/>
                    <a:pt x="3" y="788"/>
                    <a:pt x="1" y="775"/>
                  </a:cubicBezTo>
                  <a:cubicBezTo>
                    <a:pt x="1" y="772"/>
                    <a:pt x="0" y="769"/>
                    <a:pt x="0" y="765"/>
                  </a:cubicBezTo>
                  <a:cubicBezTo>
                    <a:pt x="0" y="764"/>
                    <a:pt x="0" y="762"/>
                    <a:pt x="0" y="760"/>
                  </a:cubicBezTo>
                  <a:cubicBezTo>
                    <a:pt x="0" y="756"/>
                    <a:pt x="0" y="756"/>
                    <a:pt x="0" y="756"/>
                  </a:cubicBezTo>
                  <a:cubicBezTo>
                    <a:pt x="0" y="752"/>
                    <a:pt x="0" y="747"/>
                    <a:pt x="0" y="742"/>
                  </a:cubicBezTo>
                  <a:cubicBezTo>
                    <a:pt x="0" y="723"/>
                    <a:pt x="0" y="704"/>
                    <a:pt x="0" y="685"/>
                  </a:cubicBezTo>
                  <a:cubicBezTo>
                    <a:pt x="0" y="647"/>
                    <a:pt x="0" y="609"/>
                    <a:pt x="1" y="570"/>
                  </a:cubicBezTo>
                  <a:cubicBezTo>
                    <a:pt x="1" y="416"/>
                    <a:pt x="2" y="263"/>
                    <a:pt x="2" y="150"/>
                  </a:cubicBezTo>
                  <a:cubicBezTo>
                    <a:pt x="2" y="115"/>
                    <a:pt x="3" y="85"/>
                    <a:pt x="3" y="45"/>
                  </a:cubicBezTo>
                  <a:cubicBezTo>
                    <a:pt x="3" y="13"/>
                    <a:pt x="21" y="0"/>
                    <a:pt x="48" y="0"/>
                  </a:cubicBezTo>
                  <a:cubicBezTo>
                    <a:pt x="76" y="0"/>
                    <a:pt x="144" y="0"/>
                    <a:pt x="191" y="1"/>
                  </a:cubicBezTo>
                  <a:cubicBezTo>
                    <a:pt x="202" y="1"/>
                    <a:pt x="213" y="1"/>
                    <a:pt x="223" y="1"/>
                  </a:cubicBezTo>
                  <a:cubicBezTo>
                    <a:pt x="236" y="1"/>
                    <a:pt x="248" y="2"/>
                    <a:pt x="260" y="5"/>
                  </a:cubicBezTo>
                  <a:cubicBezTo>
                    <a:pt x="284" y="9"/>
                    <a:pt x="307" y="16"/>
                    <a:pt x="328" y="27"/>
                  </a:cubicBezTo>
                  <a:cubicBezTo>
                    <a:pt x="350" y="38"/>
                    <a:pt x="370" y="51"/>
                    <a:pt x="388" y="67"/>
                  </a:cubicBezTo>
                  <a:cubicBezTo>
                    <a:pt x="391" y="70"/>
                    <a:pt x="391" y="70"/>
                    <a:pt x="391" y="70"/>
                  </a:cubicBezTo>
                  <a:cubicBezTo>
                    <a:pt x="394" y="73"/>
                    <a:pt x="394" y="73"/>
                    <a:pt x="394" y="73"/>
                  </a:cubicBezTo>
                  <a:cubicBezTo>
                    <a:pt x="399" y="78"/>
                    <a:pt x="399" y="78"/>
                    <a:pt x="399" y="78"/>
                  </a:cubicBezTo>
                  <a:cubicBezTo>
                    <a:pt x="411" y="89"/>
                    <a:pt x="411" y="89"/>
                    <a:pt x="411" y="89"/>
                  </a:cubicBezTo>
                  <a:cubicBezTo>
                    <a:pt x="418" y="96"/>
                    <a:pt x="426" y="103"/>
                    <a:pt x="433" y="110"/>
                  </a:cubicBezTo>
                  <a:cubicBezTo>
                    <a:pt x="463" y="139"/>
                    <a:pt x="492" y="167"/>
                    <a:pt x="522" y="194"/>
                  </a:cubicBezTo>
                  <a:cubicBezTo>
                    <a:pt x="550" y="222"/>
                    <a:pt x="579" y="249"/>
                    <a:pt x="608" y="276"/>
                  </a:cubicBezTo>
                  <a:cubicBezTo>
                    <a:pt x="635" y="301"/>
                    <a:pt x="665" y="322"/>
                    <a:pt x="698" y="339"/>
                  </a:cubicBezTo>
                  <a:cubicBezTo>
                    <a:pt x="762" y="373"/>
                    <a:pt x="832" y="391"/>
                    <a:pt x="902" y="394"/>
                  </a:cubicBezTo>
                  <a:cubicBezTo>
                    <a:pt x="972" y="398"/>
                    <a:pt x="1040" y="387"/>
                    <a:pt x="1101" y="365"/>
                  </a:cubicBezTo>
                  <a:cubicBezTo>
                    <a:pt x="1132" y="353"/>
                    <a:pt x="1161" y="339"/>
                    <a:pt x="1188" y="322"/>
                  </a:cubicBezTo>
                  <a:cubicBezTo>
                    <a:pt x="1201" y="314"/>
                    <a:pt x="1214" y="305"/>
                    <a:pt x="1226" y="295"/>
                  </a:cubicBezTo>
                  <a:cubicBezTo>
                    <a:pt x="1232" y="290"/>
                    <a:pt x="1238" y="285"/>
                    <a:pt x="1244" y="280"/>
                  </a:cubicBezTo>
                  <a:cubicBezTo>
                    <a:pt x="1247" y="278"/>
                    <a:pt x="1249" y="275"/>
                    <a:pt x="1252" y="273"/>
                  </a:cubicBezTo>
                  <a:cubicBezTo>
                    <a:pt x="1255" y="270"/>
                    <a:pt x="1258" y="267"/>
                    <a:pt x="1261" y="265"/>
                  </a:cubicBezTo>
                  <a:cubicBezTo>
                    <a:pt x="1357" y="177"/>
                    <a:pt x="1519" y="28"/>
                    <a:pt x="1523" y="24"/>
                  </a:cubicBezTo>
                  <a:cubicBezTo>
                    <a:pt x="1528" y="20"/>
                    <a:pt x="1538" y="15"/>
                    <a:pt x="1548" y="15"/>
                  </a:cubicBezTo>
                  <a:cubicBezTo>
                    <a:pt x="1558" y="15"/>
                    <a:pt x="1656" y="16"/>
                    <a:pt x="1697" y="17"/>
                  </a:cubicBezTo>
                  <a:cubicBezTo>
                    <a:pt x="1714" y="17"/>
                    <a:pt x="1731" y="20"/>
                    <a:pt x="1746" y="26"/>
                  </a:cubicBezTo>
                  <a:cubicBezTo>
                    <a:pt x="1760" y="31"/>
                    <a:pt x="1773" y="39"/>
                    <a:pt x="1784" y="48"/>
                  </a:cubicBezTo>
                  <a:cubicBezTo>
                    <a:pt x="1805" y="65"/>
                    <a:pt x="1818" y="86"/>
                    <a:pt x="1825" y="103"/>
                  </a:cubicBezTo>
                  <a:cubicBezTo>
                    <a:pt x="1832" y="121"/>
                    <a:pt x="1834" y="135"/>
                    <a:pt x="1835" y="145"/>
                  </a:cubicBezTo>
                  <a:cubicBezTo>
                    <a:pt x="1835" y="152"/>
                    <a:pt x="1834" y="853"/>
                    <a:pt x="1834" y="859"/>
                  </a:cubicBezTo>
                  <a:close/>
                  <a:moveTo>
                    <a:pt x="1671" y="53"/>
                  </a:moveTo>
                  <a:cubicBezTo>
                    <a:pt x="1669" y="53"/>
                    <a:pt x="1558" y="55"/>
                    <a:pt x="1556" y="55"/>
                  </a:cubicBezTo>
                  <a:cubicBezTo>
                    <a:pt x="1553" y="55"/>
                    <a:pt x="1549" y="56"/>
                    <a:pt x="1545" y="59"/>
                  </a:cubicBezTo>
                  <a:cubicBezTo>
                    <a:pt x="1542" y="62"/>
                    <a:pt x="1470" y="132"/>
                    <a:pt x="1426" y="175"/>
                  </a:cubicBezTo>
                  <a:cubicBezTo>
                    <a:pt x="1403" y="197"/>
                    <a:pt x="1380" y="221"/>
                    <a:pt x="1355" y="244"/>
                  </a:cubicBezTo>
                  <a:cubicBezTo>
                    <a:pt x="1331" y="268"/>
                    <a:pt x="1307" y="292"/>
                    <a:pt x="1282" y="317"/>
                  </a:cubicBezTo>
                  <a:cubicBezTo>
                    <a:pt x="1266" y="332"/>
                    <a:pt x="1246" y="348"/>
                    <a:pt x="1225" y="364"/>
                  </a:cubicBezTo>
                  <a:cubicBezTo>
                    <a:pt x="1203" y="379"/>
                    <a:pt x="1179" y="393"/>
                    <a:pt x="1153" y="406"/>
                  </a:cubicBezTo>
                  <a:cubicBezTo>
                    <a:pt x="1127" y="418"/>
                    <a:pt x="1100" y="428"/>
                    <a:pt x="1072" y="436"/>
                  </a:cubicBezTo>
                  <a:cubicBezTo>
                    <a:pt x="1044" y="444"/>
                    <a:pt x="1016" y="450"/>
                    <a:pt x="990" y="453"/>
                  </a:cubicBezTo>
                  <a:cubicBezTo>
                    <a:pt x="936" y="460"/>
                    <a:pt x="888" y="459"/>
                    <a:pt x="853" y="455"/>
                  </a:cubicBezTo>
                  <a:cubicBezTo>
                    <a:pt x="835" y="453"/>
                    <a:pt x="821" y="450"/>
                    <a:pt x="812" y="449"/>
                  </a:cubicBezTo>
                  <a:cubicBezTo>
                    <a:pt x="807" y="448"/>
                    <a:pt x="803" y="447"/>
                    <a:pt x="800" y="446"/>
                  </a:cubicBezTo>
                  <a:cubicBezTo>
                    <a:pt x="798" y="446"/>
                    <a:pt x="796" y="445"/>
                    <a:pt x="796" y="445"/>
                  </a:cubicBezTo>
                  <a:cubicBezTo>
                    <a:pt x="747" y="435"/>
                    <a:pt x="688" y="415"/>
                    <a:pt x="632" y="380"/>
                  </a:cubicBezTo>
                  <a:cubicBezTo>
                    <a:pt x="604" y="363"/>
                    <a:pt x="576" y="342"/>
                    <a:pt x="550" y="318"/>
                  </a:cubicBezTo>
                  <a:cubicBezTo>
                    <a:pt x="547" y="315"/>
                    <a:pt x="544" y="312"/>
                    <a:pt x="540" y="309"/>
                  </a:cubicBezTo>
                  <a:cubicBezTo>
                    <a:pt x="539" y="308"/>
                    <a:pt x="539" y="308"/>
                    <a:pt x="539" y="308"/>
                  </a:cubicBezTo>
                  <a:cubicBezTo>
                    <a:pt x="539" y="307"/>
                    <a:pt x="539" y="307"/>
                    <a:pt x="539" y="307"/>
                  </a:cubicBezTo>
                  <a:cubicBezTo>
                    <a:pt x="537" y="305"/>
                    <a:pt x="537" y="305"/>
                    <a:pt x="537" y="305"/>
                  </a:cubicBezTo>
                  <a:cubicBezTo>
                    <a:pt x="532" y="301"/>
                    <a:pt x="532" y="301"/>
                    <a:pt x="532" y="301"/>
                  </a:cubicBezTo>
                  <a:cubicBezTo>
                    <a:pt x="526" y="295"/>
                    <a:pt x="520" y="290"/>
                    <a:pt x="514" y="284"/>
                  </a:cubicBezTo>
                  <a:cubicBezTo>
                    <a:pt x="502" y="273"/>
                    <a:pt x="490" y="261"/>
                    <a:pt x="477" y="250"/>
                  </a:cubicBezTo>
                  <a:cubicBezTo>
                    <a:pt x="453" y="227"/>
                    <a:pt x="428" y="204"/>
                    <a:pt x="404" y="181"/>
                  </a:cubicBezTo>
                  <a:cubicBezTo>
                    <a:pt x="392" y="170"/>
                    <a:pt x="380" y="159"/>
                    <a:pt x="368" y="148"/>
                  </a:cubicBezTo>
                  <a:cubicBezTo>
                    <a:pt x="362" y="142"/>
                    <a:pt x="356" y="136"/>
                    <a:pt x="350" y="131"/>
                  </a:cubicBezTo>
                  <a:cubicBezTo>
                    <a:pt x="347" y="128"/>
                    <a:pt x="344" y="125"/>
                    <a:pt x="341" y="123"/>
                  </a:cubicBezTo>
                  <a:cubicBezTo>
                    <a:pt x="339" y="121"/>
                    <a:pt x="336" y="118"/>
                    <a:pt x="334" y="116"/>
                  </a:cubicBezTo>
                  <a:cubicBezTo>
                    <a:pt x="313" y="99"/>
                    <a:pt x="290" y="88"/>
                    <a:pt x="266" y="81"/>
                  </a:cubicBezTo>
                  <a:cubicBezTo>
                    <a:pt x="254" y="78"/>
                    <a:pt x="242" y="76"/>
                    <a:pt x="231" y="75"/>
                  </a:cubicBezTo>
                  <a:cubicBezTo>
                    <a:pt x="225" y="74"/>
                    <a:pt x="220" y="74"/>
                    <a:pt x="212" y="74"/>
                  </a:cubicBezTo>
                  <a:cubicBezTo>
                    <a:pt x="206" y="74"/>
                    <a:pt x="199" y="74"/>
                    <a:pt x="192" y="74"/>
                  </a:cubicBezTo>
                  <a:cubicBezTo>
                    <a:pt x="155" y="74"/>
                    <a:pt x="80" y="74"/>
                    <a:pt x="79" y="74"/>
                  </a:cubicBezTo>
                  <a:cubicBezTo>
                    <a:pt x="78" y="74"/>
                    <a:pt x="77" y="74"/>
                    <a:pt x="77" y="76"/>
                  </a:cubicBezTo>
                  <a:cubicBezTo>
                    <a:pt x="77" y="78"/>
                    <a:pt x="77" y="402"/>
                    <a:pt x="77" y="568"/>
                  </a:cubicBezTo>
                  <a:cubicBezTo>
                    <a:pt x="76" y="611"/>
                    <a:pt x="76" y="654"/>
                    <a:pt x="76" y="698"/>
                  </a:cubicBezTo>
                  <a:cubicBezTo>
                    <a:pt x="76" y="719"/>
                    <a:pt x="76" y="740"/>
                    <a:pt x="76" y="761"/>
                  </a:cubicBezTo>
                  <a:cubicBezTo>
                    <a:pt x="77" y="773"/>
                    <a:pt x="82" y="786"/>
                    <a:pt x="92" y="798"/>
                  </a:cubicBezTo>
                  <a:cubicBezTo>
                    <a:pt x="111" y="823"/>
                    <a:pt x="145" y="841"/>
                    <a:pt x="177" y="844"/>
                  </a:cubicBezTo>
                  <a:cubicBezTo>
                    <a:pt x="179" y="845"/>
                    <a:pt x="181" y="845"/>
                    <a:pt x="183" y="845"/>
                  </a:cubicBezTo>
                  <a:cubicBezTo>
                    <a:pt x="184" y="845"/>
                    <a:pt x="185" y="845"/>
                    <a:pt x="186" y="845"/>
                  </a:cubicBezTo>
                  <a:cubicBezTo>
                    <a:pt x="190" y="845"/>
                    <a:pt x="190" y="845"/>
                    <a:pt x="190" y="845"/>
                  </a:cubicBezTo>
                  <a:cubicBezTo>
                    <a:pt x="206" y="845"/>
                    <a:pt x="206" y="845"/>
                    <a:pt x="206" y="845"/>
                  </a:cubicBezTo>
                  <a:cubicBezTo>
                    <a:pt x="211" y="845"/>
                    <a:pt x="216" y="845"/>
                    <a:pt x="221" y="845"/>
                  </a:cubicBezTo>
                  <a:cubicBezTo>
                    <a:pt x="228" y="844"/>
                    <a:pt x="228" y="844"/>
                    <a:pt x="228" y="844"/>
                  </a:cubicBezTo>
                  <a:cubicBezTo>
                    <a:pt x="230" y="844"/>
                    <a:pt x="229" y="844"/>
                    <a:pt x="230" y="844"/>
                  </a:cubicBezTo>
                  <a:cubicBezTo>
                    <a:pt x="230" y="844"/>
                    <a:pt x="230" y="844"/>
                    <a:pt x="230" y="844"/>
                  </a:cubicBezTo>
                  <a:cubicBezTo>
                    <a:pt x="230" y="844"/>
                    <a:pt x="231" y="844"/>
                    <a:pt x="231" y="844"/>
                  </a:cubicBezTo>
                  <a:cubicBezTo>
                    <a:pt x="231" y="844"/>
                    <a:pt x="231" y="843"/>
                    <a:pt x="231" y="843"/>
                  </a:cubicBezTo>
                  <a:cubicBezTo>
                    <a:pt x="231" y="843"/>
                    <a:pt x="231" y="843"/>
                    <a:pt x="231" y="843"/>
                  </a:cubicBezTo>
                  <a:cubicBezTo>
                    <a:pt x="231" y="843"/>
                    <a:pt x="231" y="843"/>
                    <a:pt x="231" y="843"/>
                  </a:cubicBezTo>
                  <a:cubicBezTo>
                    <a:pt x="231" y="842"/>
                    <a:pt x="231" y="842"/>
                    <a:pt x="231" y="842"/>
                  </a:cubicBezTo>
                  <a:cubicBezTo>
                    <a:pt x="231" y="838"/>
                    <a:pt x="231" y="838"/>
                    <a:pt x="231" y="838"/>
                  </a:cubicBezTo>
                  <a:cubicBezTo>
                    <a:pt x="231" y="794"/>
                    <a:pt x="232" y="751"/>
                    <a:pt x="232" y="708"/>
                  </a:cubicBezTo>
                  <a:cubicBezTo>
                    <a:pt x="232" y="686"/>
                    <a:pt x="232" y="664"/>
                    <a:pt x="232" y="643"/>
                  </a:cubicBezTo>
                  <a:cubicBezTo>
                    <a:pt x="232" y="610"/>
                    <a:pt x="232" y="610"/>
                    <a:pt x="232" y="610"/>
                  </a:cubicBezTo>
                  <a:cubicBezTo>
                    <a:pt x="232" y="605"/>
                    <a:pt x="232" y="605"/>
                    <a:pt x="232" y="605"/>
                  </a:cubicBezTo>
                  <a:cubicBezTo>
                    <a:pt x="232" y="604"/>
                    <a:pt x="232" y="602"/>
                    <a:pt x="232" y="600"/>
                  </a:cubicBezTo>
                  <a:cubicBezTo>
                    <a:pt x="232" y="596"/>
                    <a:pt x="233" y="593"/>
                    <a:pt x="233" y="589"/>
                  </a:cubicBezTo>
                  <a:cubicBezTo>
                    <a:pt x="234" y="582"/>
                    <a:pt x="236" y="575"/>
                    <a:pt x="238" y="569"/>
                  </a:cubicBezTo>
                  <a:cubicBezTo>
                    <a:pt x="245" y="541"/>
                    <a:pt x="260" y="516"/>
                    <a:pt x="280" y="497"/>
                  </a:cubicBezTo>
                  <a:cubicBezTo>
                    <a:pt x="301" y="478"/>
                    <a:pt x="327" y="464"/>
                    <a:pt x="354" y="458"/>
                  </a:cubicBezTo>
                  <a:cubicBezTo>
                    <a:pt x="361" y="456"/>
                    <a:pt x="368" y="456"/>
                    <a:pt x="375" y="455"/>
                  </a:cubicBezTo>
                  <a:cubicBezTo>
                    <a:pt x="379" y="455"/>
                    <a:pt x="383" y="455"/>
                    <a:pt x="386" y="455"/>
                  </a:cubicBezTo>
                  <a:cubicBezTo>
                    <a:pt x="389" y="455"/>
                    <a:pt x="392" y="455"/>
                    <a:pt x="395" y="455"/>
                  </a:cubicBezTo>
                  <a:cubicBezTo>
                    <a:pt x="408" y="456"/>
                    <a:pt x="421" y="457"/>
                    <a:pt x="433" y="460"/>
                  </a:cubicBezTo>
                  <a:cubicBezTo>
                    <a:pt x="457" y="464"/>
                    <a:pt x="481" y="473"/>
                    <a:pt x="502" y="484"/>
                  </a:cubicBezTo>
                  <a:cubicBezTo>
                    <a:pt x="524" y="495"/>
                    <a:pt x="544" y="507"/>
                    <a:pt x="562" y="521"/>
                  </a:cubicBezTo>
                  <a:cubicBezTo>
                    <a:pt x="580" y="535"/>
                    <a:pt x="597" y="549"/>
                    <a:pt x="614" y="564"/>
                  </a:cubicBezTo>
                  <a:cubicBezTo>
                    <a:pt x="630" y="579"/>
                    <a:pt x="645" y="594"/>
                    <a:pt x="661" y="608"/>
                  </a:cubicBezTo>
                  <a:cubicBezTo>
                    <a:pt x="668" y="615"/>
                    <a:pt x="676" y="622"/>
                    <a:pt x="683" y="629"/>
                  </a:cubicBezTo>
                  <a:cubicBezTo>
                    <a:pt x="691" y="636"/>
                    <a:pt x="699" y="643"/>
                    <a:pt x="707" y="650"/>
                  </a:cubicBezTo>
                  <a:cubicBezTo>
                    <a:pt x="739" y="679"/>
                    <a:pt x="769" y="708"/>
                    <a:pt x="800" y="733"/>
                  </a:cubicBezTo>
                  <a:cubicBezTo>
                    <a:pt x="830" y="758"/>
                    <a:pt x="862" y="779"/>
                    <a:pt x="894" y="787"/>
                  </a:cubicBezTo>
                  <a:cubicBezTo>
                    <a:pt x="916" y="793"/>
                    <a:pt x="939" y="793"/>
                    <a:pt x="964" y="785"/>
                  </a:cubicBezTo>
                  <a:cubicBezTo>
                    <a:pt x="988" y="776"/>
                    <a:pt x="1014" y="761"/>
                    <a:pt x="1039" y="741"/>
                  </a:cubicBezTo>
                  <a:cubicBezTo>
                    <a:pt x="1064" y="722"/>
                    <a:pt x="1089" y="699"/>
                    <a:pt x="1115" y="676"/>
                  </a:cubicBezTo>
                  <a:cubicBezTo>
                    <a:pt x="1128" y="664"/>
                    <a:pt x="1142" y="652"/>
                    <a:pt x="1155" y="641"/>
                  </a:cubicBezTo>
                  <a:cubicBezTo>
                    <a:pt x="1165" y="632"/>
                    <a:pt x="1165" y="632"/>
                    <a:pt x="1165" y="632"/>
                  </a:cubicBezTo>
                  <a:cubicBezTo>
                    <a:pt x="1174" y="623"/>
                    <a:pt x="1174" y="623"/>
                    <a:pt x="1174" y="623"/>
                  </a:cubicBezTo>
                  <a:cubicBezTo>
                    <a:pt x="1181" y="617"/>
                    <a:pt x="1187" y="612"/>
                    <a:pt x="1194" y="606"/>
                  </a:cubicBezTo>
                  <a:cubicBezTo>
                    <a:pt x="1219" y="582"/>
                    <a:pt x="1246" y="557"/>
                    <a:pt x="1274" y="535"/>
                  </a:cubicBezTo>
                  <a:cubicBezTo>
                    <a:pt x="1302" y="513"/>
                    <a:pt x="1333" y="493"/>
                    <a:pt x="1367" y="480"/>
                  </a:cubicBezTo>
                  <a:cubicBezTo>
                    <a:pt x="1383" y="473"/>
                    <a:pt x="1401" y="468"/>
                    <a:pt x="1418" y="465"/>
                  </a:cubicBezTo>
                  <a:cubicBezTo>
                    <a:pt x="1426" y="464"/>
                    <a:pt x="1435" y="463"/>
                    <a:pt x="1444" y="462"/>
                  </a:cubicBezTo>
                  <a:cubicBezTo>
                    <a:pt x="1452" y="462"/>
                    <a:pt x="1460" y="461"/>
                    <a:pt x="1470" y="462"/>
                  </a:cubicBezTo>
                  <a:cubicBezTo>
                    <a:pt x="1488" y="463"/>
                    <a:pt x="1505" y="468"/>
                    <a:pt x="1521" y="475"/>
                  </a:cubicBezTo>
                  <a:cubicBezTo>
                    <a:pt x="1536" y="482"/>
                    <a:pt x="1549" y="492"/>
                    <a:pt x="1560" y="503"/>
                  </a:cubicBezTo>
                  <a:cubicBezTo>
                    <a:pt x="1584" y="525"/>
                    <a:pt x="1600" y="556"/>
                    <a:pt x="1604" y="589"/>
                  </a:cubicBezTo>
                  <a:cubicBezTo>
                    <a:pt x="1605" y="593"/>
                    <a:pt x="1605" y="597"/>
                    <a:pt x="1605" y="601"/>
                  </a:cubicBezTo>
                  <a:cubicBezTo>
                    <a:pt x="1605" y="603"/>
                    <a:pt x="1606" y="605"/>
                    <a:pt x="1606" y="607"/>
                  </a:cubicBezTo>
                  <a:cubicBezTo>
                    <a:pt x="1606" y="612"/>
                    <a:pt x="1606" y="612"/>
                    <a:pt x="1606" y="612"/>
                  </a:cubicBezTo>
                  <a:cubicBezTo>
                    <a:pt x="1605" y="619"/>
                    <a:pt x="1605" y="625"/>
                    <a:pt x="1605" y="632"/>
                  </a:cubicBezTo>
                  <a:cubicBezTo>
                    <a:pt x="1605" y="645"/>
                    <a:pt x="1605" y="658"/>
                    <a:pt x="1605" y="670"/>
                  </a:cubicBezTo>
                  <a:cubicBezTo>
                    <a:pt x="1605" y="696"/>
                    <a:pt x="1605" y="722"/>
                    <a:pt x="1605" y="747"/>
                  </a:cubicBezTo>
                  <a:cubicBezTo>
                    <a:pt x="1605" y="756"/>
                    <a:pt x="1605" y="756"/>
                    <a:pt x="1605" y="756"/>
                  </a:cubicBezTo>
                  <a:cubicBezTo>
                    <a:pt x="1605" y="760"/>
                    <a:pt x="1605" y="760"/>
                    <a:pt x="1605" y="760"/>
                  </a:cubicBezTo>
                  <a:cubicBezTo>
                    <a:pt x="1605" y="761"/>
                    <a:pt x="1605" y="762"/>
                    <a:pt x="1605" y="763"/>
                  </a:cubicBezTo>
                  <a:cubicBezTo>
                    <a:pt x="1605" y="768"/>
                    <a:pt x="1606" y="772"/>
                    <a:pt x="1607" y="776"/>
                  </a:cubicBezTo>
                  <a:cubicBezTo>
                    <a:pt x="1610" y="785"/>
                    <a:pt x="1614" y="793"/>
                    <a:pt x="1620" y="801"/>
                  </a:cubicBezTo>
                  <a:cubicBezTo>
                    <a:pt x="1631" y="817"/>
                    <a:pt x="1648" y="830"/>
                    <a:pt x="1666" y="840"/>
                  </a:cubicBezTo>
                  <a:cubicBezTo>
                    <a:pt x="1685" y="850"/>
                    <a:pt x="1705" y="856"/>
                    <a:pt x="1724" y="857"/>
                  </a:cubicBezTo>
                  <a:cubicBezTo>
                    <a:pt x="1725" y="857"/>
                    <a:pt x="1726" y="857"/>
                    <a:pt x="1727" y="857"/>
                  </a:cubicBezTo>
                  <a:cubicBezTo>
                    <a:pt x="1731" y="857"/>
                    <a:pt x="1731" y="857"/>
                    <a:pt x="1731" y="857"/>
                  </a:cubicBezTo>
                  <a:cubicBezTo>
                    <a:pt x="1740" y="857"/>
                    <a:pt x="1740" y="857"/>
                    <a:pt x="1740" y="857"/>
                  </a:cubicBezTo>
                  <a:cubicBezTo>
                    <a:pt x="1745" y="857"/>
                    <a:pt x="1751" y="857"/>
                    <a:pt x="1757" y="857"/>
                  </a:cubicBezTo>
                  <a:cubicBezTo>
                    <a:pt x="1765" y="857"/>
                    <a:pt x="1765" y="857"/>
                    <a:pt x="1765" y="857"/>
                  </a:cubicBezTo>
                  <a:cubicBezTo>
                    <a:pt x="1771" y="856"/>
                    <a:pt x="1771" y="856"/>
                    <a:pt x="1771" y="856"/>
                  </a:cubicBezTo>
                  <a:cubicBezTo>
                    <a:pt x="1773" y="856"/>
                    <a:pt x="1775" y="856"/>
                    <a:pt x="1777" y="856"/>
                  </a:cubicBezTo>
                  <a:cubicBezTo>
                    <a:pt x="1778" y="856"/>
                    <a:pt x="1779" y="856"/>
                    <a:pt x="1780" y="855"/>
                  </a:cubicBezTo>
                  <a:cubicBezTo>
                    <a:pt x="1781" y="855"/>
                    <a:pt x="1782" y="854"/>
                    <a:pt x="1783" y="853"/>
                  </a:cubicBezTo>
                  <a:cubicBezTo>
                    <a:pt x="1784" y="851"/>
                    <a:pt x="1784" y="849"/>
                    <a:pt x="1784" y="847"/>
                  </a:cubicBezTo>
                  <a:cubicBezTo>
                    <a:pt x="1784" y="844"/>
                    <a:pt x="1784" y="844"/>
                    <a:pt x="1784" y="844"/>
                  </a:cubicBezTo>
                  <a:cubicBezTo>
                    <a:pt x="1784" y="838"/>
                    <a:pt x="1784" y="838"/>
                    <a:pt x="1784" y="838"/>
                  </a:cubicBezTo>
                  <a:cubicBezTo>
                    <a:pt x="1784" y="832"/>
                    <a:pt x="1784" y="827"/>
                    <a:pt x="1784" y="821"/>
                  </a:cubicBezTo>
                  <a:cubicBezTo>
                    <a:pt x="1785" y="643"/>
                    <a:pt x="1782" y="182"/>
                    <a:pt x="1783" y="173"/>
                  </a:cubicBezTo>
                  <a:cubicBezTo>
                    <a:pt x="1783" y="164"/>
                    <a:pt x="1784" y="155"/>
                    <a:pt x="1782" y="148"/>
                  </a:cubicBezTo>
                  <a:cubicBezTo>
                    <a:pt x="1781" y="140"/>
                    <a:pt x="1778" y="129"/>
                    <a:pt x="1772" y="115"/>
                  </a:cubicBezTo>
                  <a:cubicBezTo>
                    <a:pt x="1766" y="102"/>
                    <a:pt x="1755" y="87"/>
                    <a:pt x="1738" y="74"/>
                  </a:cubicBezTo>
                  <a:cubicBezTo>
                    <a:pt x="1721" y="62"/>
                    <a:pt x="1698" y="53"/>
                    <a:pt x="1671" y="53"/>
                  </a:cubicBezTo>
                  <a:close/>
                  <a:moveTo>
                    <a:pt x="1823" y="846"/>
                  </a:moveTo>
                  <a:cubicBezTo>
                    <a:pt x="1822" y="821"/>
                    <a:pt x="1821" y="797"/>
                    <a:pt x="1820" y="770"/>
                  </a:cubicBezTo>
                  <a:cubicBezTo>
                    <a:pt x="1817" y="681"/>
                    <a:pt x="1814" y="523"/>
                    <a:pt x="1811" y="454"/>
                  </a:cubicBezTo>
                  <a:cubicBezTo>
                    <a:pt x="1809" y="416"/>
                    <a:pt x="1808" y="395"/>
                    <a:pt x="1806" y="431"/>
                  </a:cubicBezTo>
                  <a:cubicBezTo>
                    <a:pt x="1806" y="444"/>
                    <a:pt x="1805" y="453"/>
                    <a:pt x="1805" y="467"/>
                  </a:cubicBezTo>
                  <a:cubicBezTo>
                    <a:pt x="1802" y="506"/>
                    <a:pt x="1801" y="607"/>
                    <a:pt x="1799" y="659"/>
                  </a:cubicBezTo>
                  <a:cubicBezTo>
                    <a:pt x="1799" y="662"/>
                    <a:pt x="1799" y="664"/>
                    <a:pt x="1799" y="667"/>
                  </a:cubicBezTo>
                  <a:cubicBezTo>
                    <a:pt x="1798" y="691"/>
                    <a:pt x="1797" y="715"/>
                    <a:pt x="1796" y="742"/>
                  </a:cubicBezTo>
                  <a:cubicBezTo>
                    <a:pt x="1796" y="747"/>
                    <a:pt x="1796" y="752"/>
                    <a:pt x="1796" y="757"/>
                  </a:cubicBezTo>
                  <a:cubicBezTo>
                    <a:pt x="1796" y="774"/>
                    <a:pt x="1795" y="792"/>
                    <a:pt x="1795" y="810"/>
                  </a:cubicBezTo>
                  <a:cubicBezTo>
                    <a:pt x="1795" y="819"/>
                    <a:pt x="1794" y="829"/>
                    <a:pt x="1794" y="838"/>
                  </a:cubicBezTo>
                  <a:cubicBezTo>
                    <a:pt x="1794" y="840"/>
                    <a:pt x="1794" y="842"/>
                    <a:pt x="1794" y="844"/>
                  </a:cubicBezTo>
                  <a:cubicBezTo>
                    <a:pt x="1794" y="846"/>
                    <a:pt x="1794" y="847"/>
                    <a:pt x="1794" y="849"/>
                  </a:cubicBezTo>
                  <a:cubicBezTo>
                    <a:pt x="1794" y="852"/>
                    <a:pt x="1794" y="855"/>
                    <a:pt x="1793" y="858"/>
                  </a:cubicBezTo>
                  <a:cubicBezTo>
                    <a:pt x="1792" y="860"/>
                    <a:pt x="1791" y="862"/>
                    <a:pt x="1789" y="864"/>
                  </a:cubicBezTo>
                  <a:cubicBezTo>
                    <a:pt x="1787" y="865"/>
                    <a:pt x="1784" y="865"/>
                    <a:pt x="1782" y="865"/>
                  </a:cubicBezTo>
                  <a:cubicBezTo>
                    <a:pt x="1780" y="865"/>
                    <a:pt x="1777" y="866"/>
                    <a:pt x="1775" y="866"/>
                  </a:cubicBezTo>
                  <a:cubicBezTo>
                    <a:pt x="1772" y="866"/>
                    <a:pt x="1769" y="866"/>
                    <a:pt x="1766" y="866"/>
                  </a:cubicBezTo>
                  <a:cubicBezTo>
                    <a:pt x="1758" y="866"/>
                    <a:pt x="1750" y="866"/>
                    <a:pt x="1741" y="866"/>
                  </a:cubicBezTo>
                  <a:cubicBezTo>
                    <a:pt x="1737" y="866"/>
                    <a:pt x="1733" y="866"/>
                    <a:pt x="1729" y="866"/>
                  </a:cubicBezTo>
                  <a:cubicBezTo>
                    <a:pt x="1725" y="866"/>
                    <a:pt x="1721" y="865"/>
                    <a:pt x="1717" y="865"/>
                  </a:cubicBezTo>
                  <a:cubicBezTo>
                    <a:pt x="1702" y="863"/>
                    <a:pt x="1686" y="858"/>
                    <a:pt x="1670" y="851"/>
                  </a:cubicBezTo>
                  <a:cubicBezTo>
                    <a:pt x="1655" y="843"/>
                    <a:pt x="1640" y="833"/>
                    <a:pt x="1627" y="820"/>
                  </a:cubicBezTo>
                  <a:cubicBezTo>
                    <a:pt x="1614" y="807"/>
                    <a:pt x="1604" y="791"/>
                    <a:pt x="1600" y="774"/>
                  </a:cubicBezTo>
                  <a:cubicBezTo>
                    <a:pt x="1599" y="770"/>
                    <a:pt x="1599" y="765"/>
                    <a:pt x="1599" y="761"/>
                  </a:cubicBezTo>
                  <a:cubicBezTo>
                    <a:pt x="1599" y="760"/>
                    <a:pt x="1599" y="759"/>
                    <a:pt x="1599" y="758"/>
                  </a:cubicBezTo>
                  <a:cubicBezTo>
                    <a:pt x="1599" y="753"/>
                    <a:pt x="1599" y="753"/>
                    <a:pt x="1599" y="753"/>
                  </a:cubicBezTo>
                  <a:cubicBezTo>
                    <a:pt x="1599" y="750"/>
                    <a:pt x="1599" y="747"/>
                    <a:pt x="1599" y="744"/>
                  </a:cubicBezTo>
                  <a:cubicBezTo>
                    <a:pt x="1599" y="733"/>
                    <a:pt x="1599" y="721"/>
                    <a:pt x="1600" y="708"/>
                  </a:cubicBezTo>
                  <a:cubicBezTo>
                    <a:pt x="1600" y="684"/>
                    <a:pt x="1600" y="659"/>
                    <a:pt x="1601" y="633"/>
                  </a:cubicBezTo>
                  <a:cubicBezTo>
                    <a:pt x="1601" y="627"/>
                    <a:pt x="1601" y="620"/>
                    <a:pt x="1601" y="614"/>
                  </a:cubicBezTo>
                  <a:cubicBezTo>
                    <a:pt x="1601" y="609"/>
                    <a:pt x="1601" y="609"/>
                    <a:pt x="1601" y="609"/>
                  </a:cubicBezTo>
                  <a:cubicBezTo>
                    <a:pt x="1601" y="607"/>
                    <a:pt x="1601" y="605"/>
                    <a:pt x="1601" y="603"/>
                  </a:cubicBezTo>
                  <a:cubicBezTo>
                    <a:pt x="1601" y="599"/>
                    <a:pt x="1601" y="595"/>
                    <a:pt x="1600" y="591"/>
                  </a:cubicBezTo>
                  <a:cubicBezTo>
                    <a:pt x="1598" y="575"/>
                    <a:pt x="1594" y="560"/>
                    <a:pt x="1587" y="545"/>
                  </a:cubicBezTo>
                  <a:cubicBezTo>
                    <a:pt x="1576" y="523"/>
                    <a:pt x="1558" y="503"/>
                    <a:pt x="1536" y="488"/>
                  </a:cubicBezTo>
                  <a:cubicBezTo>
                    <a:pt x="1525" y="481"/>
                    <a:pt x="1513" y="475"/>
                    <a:pt x="1500" y="471"/>
                  </a:cubicBezTo>
                  <a:cubicBezTo>
                    <a:pt x="1487" y="467"/>
                    <a:pt x="1473" y="465"/>
                    <a:pt x="1460" y="465"/>
                  </a:cubicBezTo>
                  <a:cubicBezTo>
                    <a:pt x="1434" y="465"/>
                    <a:pt x="1408" y="469"/>
                    <a:pt x="1383" y="477"/>
                  </a:cubicBezTo>
                  <a:cubicBezTo>
                    <a:pt x="1357" y="485"/>
                    <a:pt x="1334" y="498"/>
                    <a:pt x="1311" y="512"/>
                  </a:cubicBezTo>
                  <a:cubicBezTo>
                    <a:pt x="1266" y="541"/>
                    <a:pt x="1227" y="578"/>
                    <a:pt x="1188" y="614"/>
                  </a:cubicBezTo>
                  <a:cubicBezTo>
                    <a:pt x="1178" y="623"/>
                    <a:pt x="1168" y="632"/>
                    <a:pt x="1158" y="641"/>
                  </a:cubicBezTo>
                  <a:cubicBezTo>
                    <a:pt x="1148" y="650"/>
                    <a:pt x="1137" y="659"/>
                    <a:pt x="1127" y="669"/>
                  </a:cubicBezTo>
                  <a:cubicBezTo>
                    <a:pt x="1106" y="688"/>
                    <a:pt x="1085" y="707"/>
                    <a:pt x="1063" y="725"/>
                  </a:cubicBezTo>
                  <a:cubicBezTo>
                    <a:pt x="1046" y="739"/>
                    <a:pt x="1029" y="753"/>
                    <a:pt x="1011" y="764"/>
                  </a:cubicBezTo>
                  <a:cubicBezTo>
                    <a:pt x="993" y="776"/>
                    <a:pt x="974" y="785"/>
                    <a:pt x="956" y="790"/>
                  </a:cubicBezTo>
                  <a:cubicBezTo>
                    <a:pt x="937" y="795"/>
                    <a:pt x="918" y="796"/>
                    <a:pt x="900" y="792"/>
                  </a:cubicBezTo>
                  <a:cubicBezTo>
                    <a:pt x="881" y="788"/>
                    <a:pt x="863" y="780"/>
                    <a:pt x="845" y="769"/>
                  </a:cubicBezTo>
                  <a:cubicBezTo>
                    <a:pt x="826" y="758"/>
                    <a:pt x="809" y="745"/>
                    <a:pt x="791" y="731"/>
                  </a:cubicBezTo>
                  <a:cubicBezTo>
                    <a:pt x="774" y="716"/>
                    <a:pt x="757" y="701"/>
                    <a:pt x="739" y="685"/>
                  </a:cubicBezTo>
                  <a:cubicBezTo>
                    <a:pt x="722" y="669"/>
                    <a:pt x="705" y="653"/>
                    <a:pt x="687" y="637"/>
                  </a:cubicBezTo>
                  <a:cubicBezTo>
                    <a:pt x="670" y="622"/>
                    <a:pt x="653" y="606"/>
                    <a:pt x="636" y="589"/>
                  </a:cubicBezTo>
                  <a:cubicBezTo>
                    <a:pt x="601" y="557"/>
                    <a:pt x="564" y="523"/>
                    <a:pt x="519" y="497"/>
                  </a:cubicBezTo>
                  <a:cubicBezTo>
                    <a:pt x="497" y="485"/>
                    <a:pt x="473" y="474"/>
                    <a:pt x="447" y="467"/>
                  </a:cubicBezTo>
                  <a:cubicBezTo>
                    <a:pt x="434" y="463"/>
                    <a:pt x="420" y="461"/>
                    <a:pt x="407" y="460"/>
                  </a:cubicBezTo>
                  <a:cubicBezTo>
                    <a:pt x="400" y="459"/>
                    <a:pt x="393" y="459"/>
                    <a:pt x="386" y="459"/>
                  </a:cubicBezTo>
                  <a:cubicBezTo>
                    <a:pt x="379" y="459"/>
                    <a:pt x="372" y="459"/>
                    <a:pt x="364" y="460"/>
                  </a:cubicBezTo>
                  <a:cubicBezTo>
                    <a:pt x="334" y="465"/>
                    <a:pt x="306" y="478"/>
                    <a:pt x="285" y="499"/>
                  </a:cubicBezTo>
                  <a:cubicBezTo>
                    <a:pt x="263" y="519"/>
                    <a:pt x="247" y="546"/>
                    <a:pt x="240" y="575"/>
                  </a:cubicBezTo>
                  <a:cubicBezTo>
                    <a:pt x="239" y="582"/>
                    <a:pt x="237" y="589"/>
                    <a:pt x="237" y="597"/>
                  </a:cubicBezTo>
                  <a:cubicBezTo>
                    <a:pt x="236" y="600"/>
                    <a:pt x="236" y="604"/>
                    <a:pt x="236" y="608"/>
                  </a:cubicBezTo>
                  <a:cubicBezTo>
                    <a:pt x="236" y="617"/>
                    <a:pt x="236" y="617"/>
                    <a:pt x="236" y="617"/>
                  </a:cubicBezTo>
                  <a:cubicBezTo>
                    <a:pt x="236" y="628"/>
                    <a:pt x="236" y="640"/>
                    <a:pt x="236" y="652"/>
                  </a:cubicBezTo>
                  <a:cubicBezTo>
                    <a:pt x="236" y="675"/>
                    <a:pt x="236" y="698"/>
                    <a:pt x="236" y="721"/>
                  </a:cubicBezTo>
                  <a:cubicBezTo>
                    <a:pt x="236" y="793"/>
                    <a:pt x="236" y="793"/>
                    <a:pt x="236" y="793"/>
                  </a:cubicBezTo>
                  <a:cubicBezTo>
                    <a:pt x="236" y="829"/>
                    <a:pt x="236" y="829"/>
                    <a:pt x="236" y="829"/>
                  </a:cubicBezTo>
                  <a:cubicBezTo>
                    <a:pt x="236" y="843"/>
                    <a:pt x="236" y="843"/>
                    <a:pt x="236" y="843"/>
                  </a:cubicBezTo>
                  <a:cubicBezTo>
                    <a:pt x="236" y="844"/>
                    <a:pt x="236" y="845"/>
                    <a:pt x="236" y="846"/>
                  </a:cubicBezTo>
                  <a:cubicBezTo>
                    <a:pt x="236" y="847"/>
                    <a:pt x="235" y="848"/>
                    <a:pt x="234" y="848"/>
                  </a:cubicBezTo>
                  <a:cubicBezTo>
                    <a:pt x="233" y="849"/>
                    <a:pt x="232" y="849"/>
                    <a:pt x="231" y="849"/>
                  </a:cubicBezTo>
                  <a:cubicBezTo>
                    <a:pt x="229" y="849"/>
                    <a:pt x="229" y="849"/>
                    <a:pt x="229" y="849"/>
                  </a:cubicBezTo>
                  <a:cubicBezTo>
                    <a:pt x="221" y="849"/>
                    <a:pt x="221" y="849"/>
                    <a:pt x="221" y="849"/>
                  </a:cubicBezTo>
                  <a:cubicBezTo>
                    <a:pt x="215" y="849"/>
                    <a:pt x="210" y="849"/>
                    <a:pt x="204" y="849"/>
                  </a:cubicBezTo>
                  <a:cubicBezTo>
                    <a:pt x="186" y="849"/>
                    <a:pt x="186" y="849"/>
                    <a:pt x="186" y="849"/>
                  </a:cubicBezTo>
                  <a:cubicBezTo>
                    <a:pt x="182" y="849"/>
                    <a:pt x="177" y="849"/>
                    <a:pt x="173" y="848"/>
                  </a:cubicBezTo>
                  <a:cubicBezTo>
                    <a:pt x="163" y="847"/>
                    <a:pt x="154" y="845"/>
                    <a:pt x="145" y="841"/>
                  </a:cubicBezTo>
                  <a:cubicBezTo>
                    <a:pt x="127" y="835"/>
                    <a:pt x="110" y="824"/>
                    <a:pt x="97" y="811"/>
                  </a:cubicBezTo>
                  <a:cubicBezTo>
                    <a:pt x="83" y="797"/>
                    <a:pt x="74" y="782"/>
                    <a:pt x="72" y="767"/>
                  </a:cubicBezTo>
                  <a:cubicBezTo>
                    <a:pt x="72" y="765"/>
                    <a:pt x="72" y="763"/>
                    <a:pt x="72" y="761"/>
                  </a:cubicBezTo>
                  <a:cubicBezTo>
                    <a:pt x="72" y="760"/>
                    <a:pt x="72" y="759"/>
                    <a:pt x="72" y="759"/>
                  </a:cubicBezTo>
                  <a:cubicBezTo>
                    <a:pt x="71" y="754"/>
                    <a:pt x="71" y="754"/>
                    <a:pt x="71" y="754"/>
                  </a:cubicBezTo>
                  <a:cubicBezTo>
                    <a:pt x="72" y="736"/>
                    <a:pt x="72" y="736"/>
                    <a:pt x="72" y="736"/>
                  </a:cubicBezTo>
                  <a:cubicBezTo>
                    <a:pt x="72" y="701"/>
                    <a:pt x="72" y="701"/>
                    <a:pt x="72" y="701"/>
                  </a:cubicBezTo>
                  <a:cubicBezTo>
                    <a:pt x="72" y="677"/>
                    <a:pt x="72" y="653"/>
                    <a:pt x="72" y="629"/>
                  </a:cubicBezTo>
                  <a:cubicBezTo>
                    <a:pt x="72" y="443"/>
                    <a:pt x="72" y="78"/>
                    <a:pt x="72" y="74"/>
                  </a:cubicBezTo>
                  <a:cubicBezTo>
                    <a:pt x="72" y="73"/>
                    <a:pt x="73" y="71"/>
                    <a:pt x="74" y="70"/>
                  </a:cubicBezTo>
                  <a:cubicBezTo>
                    <a:pt x="74" y="70"/>
                    <a:pt x="75" y="69"/>
                    <a:pt x="77" y="69"/>
                  </a:cubicBezTo>
                  <a:cubicBezTo>
                    <a:pt x="78" y="69"/>
                    <a:pt x="82" y="69"/>
                    <a:pt x="87" y="69"/>
                  </a:cubicBezTo>
                  <a:cubicBezTo>
                    <a:pt x="102" y="69"/>
                    <a:pt x="132" y="69"/>
                    <a:pt x="151" y="69"/>
                  </a:cubicBezTo>
                  <a:cubicBezTo>
                    <a:pt x="165" y="69"/>
                    <a:pt x="180" y="69"/>
                    <a:pt x="195" y="69"/>
                  </a:cubicBezTo>
                  <a:cubicBezTo>
                    <a:pt x="217" y="69"/>
                    <a:pt x="217" y="69"/>
                    <a:pt x="217" y="69"/>
                  </a:cubicBezTo>
                  <a:cubicBezTo>
                    <a:pt x="221" y="69"/>
                    <a:pt x="223" y="69"/>
                    <a:pt x="226" y="69"/>
                  </a:cubicBezTo>
                  <a:cubicBezTo>
                    <a:pt x="229" y="70"/>
                    <a:pt x="232" y="70"/>
                    <a:pt x="235" y="70"/>
                  </a:cubicBezTo>
                  <a:cubicBezTo>
                    <a:pt x="260" y="73"/>
                    <a:pt x="284" y="80"/>
                    <a:pt x="306" y="92"/>
                  </a:cubicBezTo>
                  <a:cubicBezTo>
                    <a:pt x="317" y="97"/>
                    <a:pt x="327" y="104"/>
                    <a:pt x="336" y="112"/>
                  </a:cubicBezTo>
                  <a:cubicBezTo>
                    <a:pt x="339" y="114"/>
                    <a:pt x="341" y="116"/>
                    <a:pt x="343" y="118"/>
                  </a:cubicBezTo>
                  <a:cubicBezTo>
                    <a:pt x="351" y="125"/>
                    <a:pt x="351" y="125"/>
                    <a:pt x="351" y="125"/>
                  </a:cubicBezTo>
                  <a:cubicBezTo>
                    <a:pt x="367" y="140"/>
                    <a:pt x="367" y="140"/>
                    <a:pt x="367" y="140"/>
                  </a:cubicBezTo>
                  <a:cubicBezTo>
                    <a:pt x="425" y="195"/>
                    <a:pt x="484" y="250"/>
                    <a:pt x="542" y="303"/>
                  </a:cubicBezTo>
                  <a:cubicBezTo>
                    <a:pt x="543" y="303"/>
                    <a:pt x="543" y="303"/>
                    <a:pt x="543" y="303"/>
                  </a:cubicBezTo>
                  <a:cubicBezTo>
                    <a:pt x="544" y="305"/>
                    <a:pt x="544" y="305"/>
                    <a:pt x="544" y="305"/>
                  </a:cubicBezTo>
                  <a:cubicBezTo>
                    <a:pt x="547" y="308"/>
                    <a:pt x="547" y="308"/>
                    <a:pt x="547" y="308"/>
                  </a:cubicBezTo>
                  <a:cubicBezTo>
                    <a:pt x="552" y="313"/>
                    <a:pt x="552" y="313"/>
                    <a:pt x="552" y="313"/>
                  </a:cubicBezTo>
                  <a:cubicBezTo>
                    <a:pt x="556" y="317"/>
                    <a:pt x="560" y="320"/>
                    <a:pt x="564" y="323"/>
                  </a:cubicBezTo>
                  <a:cubicBezTo>
                    <a:pt x="572" y="330"/>
                    <a:pt x="580" y="337"/>
                    <a:pt x="588" y="343"/>
                  </a:cubicBezTo>
                  <a:cubicBezTo>
                    <a:pt x="604" y="356"/>
                    <a:pt x="621" y="367"/>
                    <a:pt x="639" y="378"/>
                  </a:cubicBezTo>
                  <a:cubicBezTo>
                    <a:pt x="673" y="398"/>
                    <a:pt x="710" y="414"/>
                    <a:pt x="746" y="426"/>
                  </a:cubicBezTo>
                  <a:cubicBezTo>
                    <a:pt x="782" y="438"/>
                    <a:pt x="819" y="445"/>
                    <a:pt x="854" y="449"/>
                  </a:cubicBezTo>
                  <a:cubicBezTo>
                    <a:pt x="889" y="452"/>
                    <a:pt x="922" y="453"/>
                    <a:pt x="954" y="451"/>
                  </a:cubicBezTo>
                  <a:cubicBezTo>
                    <a:pt x="1018" y="446"/>
                    <a:pt x="1073" y="432"/>
                    <a:pt x="1117" y="414"/>
                  </a:cubicBezTo>
                  <a:cubicBezTo>
                    <a:pt x="1157" y="398"/>
                    <a:pt x="1194" y="378"/>
                    <a:pt x="1225" y="355"/>
                  </a:cubicBezTo>
                  <a:cubicBezTo>
                    <a:pt x="1241" y="344"/>
                    <a:pt x="1256" y="332"/>
                    <a:pt x="1270" y="319"/>
                  </a:cubicBezTo>
                  <a:cubicBezTo>
                    <a:pt x="1277" y="313"/>
                    <a:pt x="1284" y="307"/>
                    <a:pt x="1290" y="300"/>
                  </a:cubicBezTo>
                  <a:cubicBezTo>
                    <a:pt x="1297" y="294"/>
                    <a:pt x="1303" y="288"/>
                    <a:pt x="1309" y="282"/>
                  </a:cubicBezTo>
                  <a:cubicBezTo>
                    <a:pt x="1393" y="199"/>
                    <a:pt x="1459" y="134"/>
                    <a:pt x="1489" y="102"/>
                  </a:cubicBezTo>
                  <a:cubicBezTo>
                    <a:pt x="1504" y="87"/>
                    <a:pt x="1516" y="74"/>
                    <a:pt x="1527" y="63"/>
                  </a:cubicBezTo>
                  <a:cubicBezTo>
                    <a:pt x="1528" y="61"/>
                    <a:pt x="1529" y="60"/>
                    <a:pt x="1530" y="59"/>
                  </a:cubicBezTo>
                  <a:cubicBezTo>
                    <a:pt x="1531" y="58"/>
                    <a:pt x="1532" y="57"/>
                    <a:pt x="1533" y="55"/>
                  </a:cubicBezTo>
                  <a:cubicBezTo>
                    <a:pt x="1534" y="55"/>
                    <a:pt x="1534" y="54"/>
                    <a:pt x="1535" y="54"/>
                  </a:cubicBezTo>
                  <a:cubicBezTo>
                    <a:pt x="1535" y="53"/>
                    <a:pt x="1536" y="53"/>
                    <a:pt x="1536" y="53"/>
                  </a:cubicBezTo>
                  <a:cubicBezTo>
                    <a:pt x="1537" y="51"/>
                    <a:pt x="1538" y="50"/>
                    <a:pt x="1539" y="49"/>
                  </a:cubicBezTo>
                  <a:cubicBezTo>
                    <a:pt x="1542" y="48"/>
                    <a:pt x="1544" y="47"/>
                    <a:pt x="1546" y="46"/>
                  </a:cubicBezTo>
                  <a:cubicBezTo>
                    <a:pt x="1548" y="45"/>
                    <a:pt x="1550" y="44"/>
                    <a:pt x="1552" y="43"/>
                  </a:cubicBezTo>
                  <a:cubicBezTo>
                    <a:pt x="1552" y="42"/>
                    <a:pt x="1563" y="37"/>
                    <a:pt x="1565" y="36"/>
                  </a:cubicBezTo>
                  <a:cubicBezTo>
                    <a:pt x="1570" y="33"/>
                    <a:pt x="1570" y="31"/>
                    <a:pt x="1552" y="28"/>
                  </a:cubicBezTo>
                  <a:cubicBezTo>
                    <a:pt x="1551" y="28"/>
                    <a:pt x="1551" y="28"/>
                    <a:pt x="1551" y="28"/>
                  </a:cubicBezTo>
                  <a:cubicBezTo>
                    <a:pt x="1549" y="28"/>
                    <a:pt x="1549" y="28"/>
                    <a:pt x="1549" y="28"/>
                  </a:cubicBezTo>
                  <a:cubicBezTo>
                    <a:pt x="1547" y="29"/>
                    <a:pt x="1544" y="29"/>
                    <a:pt x="1541" y="30"/>
                  </a:cubicBezTo>
                  <a:cubicBezTo>
                    <a:pt x="1540" y="31"/>
                    <a:pt x="1538" y="31"/>
                    <a:pt x="1536" y="32"/>
                  </a:cubicBezTo>
                  <a:cubicBezTo>
                    <a:pt x="1534" y="32"/>
                    <a:pt x="1532" y="33"/>
                    <a:pt x="1529" y="34"/>
                  </a:cubicBezTo>
                  <a:cubicBezTo>
                    <a:pt x="1523" y="39"/>
                    <a:pt x="1516" y="45"/>
                    <a:pt x="1507" y="51"/>
                  </a:cubicBezTo>
                  <a:cubicBezTo>
                    <a:pt x="1499" y="58"/>
                    <a:pt x="1489" y="66"/>
                    <a:pt x="1478" y="75"/>
                  </a:cubicBezTo>
                  <a:cubicBezTo>
                    <a:pt x="1449" y="99"/>
                    <a:pt x="1366" y="175"/>
                    <a:pt x="1260" y="273"/>
                  </a:cubicBezTo>
                  <a:cubicBezTo>
                    <a:pt x="1256" y="276"/>
                    <a:pt x="1253" y="279"/>
                    <a:pt x="1250" y="282"/>
                  </a:cubicBezTo>
                  <a:cubicBezTo>
                    <a:pt x="1247" y="285"/>
                    <a:pt x="1243" y="288"/>
                    <a:pt x="1240" y="290"/>
                  </a:cubicBezTo>
                  <a:cubicBezTo>
                    <a:pt x="1233" y="296"/>
                    <a:pt x="1226" y="302"/>
                    <a:pt x="1219" y="307"/>
                  </a:cubicBezTo>
                  <a:cubicBezTo>
                    <a:pt x="1205" y="318"/>
                    <a:pt x="1189" y="328"/>
                    <a:pt x="1173" y="337"/>
                  </a:cubicBezTo>
                  <a:cubicBezTo>
                    <a:pt x="1140" y="356"/>
                    <a:pt x="1104" y="371"/>
                    <a:pt x="1066" y="382"/>
                  </a:cubicBezTo>
                  <a:cubicBezTo>
                    <a:pt x="991" y="403"/>
                    <a:pt x="908" y="407"/>
                    <a:pt x="831" y="392"/>
                  </a:cubicBezTo>
                  <a:cubicBezTo>
                    <a:pt x="762" y="379"/>
                    <a:pt x="696" y="352"/>
                    <a:pt x="640" y="311"/>
                  </a:cubicBezTo>
                  <a:cubicBezTo>
                    <a:pt x="626" y="301"/>
                    <a:pt x="612" y="290"/>
                    <a:pt x="600" y="278"/>
                  </a:cubicBezTo>
                  <a:cubicBezTo>
                    <a:pt x="597" y="275"/>
                    <a:pt x="593" y="272"/>
                    <a:pt x="590" y="269"/>
                  </a:cubicBezTo>
                  <a:cubicBezTo>
                    <a:pt x="586" y="264"/>
                    <a:pt x="586" y="264"/>
                    <a:pt x="586" y="264"/>
                  </a:cubicBezTo>
                  <a:cubicBezTo>
                    <a:pt x="583" y="262"/>
                    <a:pt x="583" y="262"/>
                    <a:pt x="583" y="262"/>
                  </a:cubicBezTo>
                  <a:cubicBezTo>
                    <a:pt x="580" y="259"/>
                    <a:pt x="580" y="259"/>
                    <a:pt x="580" y="259"/>
                  </a:cubicBezTo>
                  <a:cubicBezTo>
                    <a:pt x="560" y="240"/>
                    <a:pt x="560" y="240"/>
                    <a:pt x="560" y="240"/>
                  </a:cubicBezTo>
                  <a:cubicBezTo>
                    <a:pt x="534" y="215"/>
                    <a:pt x="508" y="190"/>
                    <a:pt x="481" y="164"/>
                  </a:cubicBezTo>
                  <a:cubicBezTo>
                    <a:pt x="454" y="139"/>
                    <a:pt x="428" y="113"/>
                    <a:pt x="401" y="88"/>
                  </a:cubicBezTo>
                  <a:cubicBezTo>
                    <a:pt x="391" y="78"/>
                    <a:pt x="391" y="78"/>
                    <a:pt x="391" y="78"/>
                  </a:cubicBezTo>
                  <a:cubicBezTo>
                    <a:pt x="386" y="73"/>
                    <a:pt x="386" y="73"/>
                    <a:pt x="386" y="73"/>
                  </a:cubicBezTo>
                  <a:cubicBezTo>
                    <a:pt x="384" y="71"/>
                    <a:pt x="382" y="69"/>
                    <a:pt x="380" y="68"/>
                  </a:cubicBezTo>
                  <a:cubicBezTo>
                    <a:pt x="372" y="61"/>
                    <a:pt x="364" y="55"/>
                    <a:pt x="355" y="49"/>
                  </a:cubicBezTo>
                  <a:cubicBezTo>
                    <a:pt x="338" y="37"/>
                    <a:pt x="319" y="27"/>
                    <a:pt x="299" y="20"/>
                  </a:cubicBezTo>
                  <a:cubicBezTo>
                    <a:pt x="279" y="13"/>
                    <a:pt x="258" y="9"/>
                    <a:pt x="237" y="7"/>
                  </a:cubicBezTo>
                  <a:cubicBezTo>
                    <a:pt x="234" y="7"/>
                    <a:pt x="232" y="6"/>
                    <a:pt x="229" y="6"/>
                  </a:cubicBezTo>
                  <a:cubicBezTo>
                    <a:pt x="225" y="6"/>
                    <a:pt x="225" y="6"/>
                    <a:pt x="225" y="6"/>
                  </a:cubicBezTo>
                  <a:cubicBezTo>
                    <a:pt x="221" y="6"/>
                    <a:pt x="221" y="6"/>
                    <a:pt x="221" y="6"/>
                  </a:cubicBezTo>
                  <a:cubicBezTo>
                    <a:pt x="206" y="6"/>
                    <a:pt x="206" y="6"/>
                    <a:pt x="206" y="6"/>
                  </a:cubicBezTo>
                  <a:cubicBezTo>
                    <a:pt x="197" y="6"/>
                    <a:pt x="188" y="6"/>
                    <a:pt x="178" y="6"/>
                  </a:cubicBezTo>
                  <a:cubicBezTo>
                    <a:pt x="136" y="5"/>
                    <a:pt x="91" y="5"/>
                    <a:pt x="50" y="5"/>
                  </a:cubicBezTo>
                  <a:cubicBezTo>
                    <a:pt x="48" y="5"/>
                    <a:pt x="47" y="5"/>
                    <a:pt x="45" y="5"/>
                  </a:cubicBezTo>
                  <a:cubicBezTo>
                    <a:pt x="44" y="5"/>
                    <a:pt x="43" y="5"/>
                    <a:pt x="42" y="5"/>
                  </a:cubicBezTo>
                  <a:cubicBezTo>
                    <a:pt x="9" y="9"/>
                    <a:pt x="7" y="36"/>
                    <a:pt x="7" y="47"/>
                  </a:cubicBezTo>
                  <a:cubicBezTo>
                    <a:pt x="7" y="54"/>
                    <a:pt x="7" y="61"/>
                    <a:pt x="7" y="68"/>
                  </a:cubicBezTo>
                  <a:cubicBezTo>
                    <a:pt x="7" y="95"/>
                    <a:pt x="7" y="138"/>
                    <a:pt x="7" y="167"/>
                  </a:cubicBezTo>
                  <a:cubicBezTo>
                    <a:pt x="6" y="267"/>
                    <a:pt x="6" y="368"/>
                    <a:pt x="5" y="475"/>
                  </a:cubicBezTo>
                  <a:cubicBezTo>
                    <a:pt x="5" y="525"/>
                    <a:pt x="5" y="577"/>
                    <a:pt x="4" y="630"/>
                  </a:cubicBezTo>
                  <a:cubicBezTo>
                    <a:pt x="4" y="657"/>
                    <a:pt x="4" y="683"/>
                    <a:pt x="4" y="710"/>
                  </a:cubicBezTo>
                  <a:cubicBezTo>
                    <a:pt x="4" y="724"/>
                    <a:pt x="4" y="737"/>
                    <a:pt x="4" y="751"/>
                  </a:cubicBezTo>
                  <a:cubicBezTo>
                    <a:pt x="4" y="756"/>
                    <a:pt x="4" y="756"/>
                    <a:pt x="4" y="756"/>
                  </a:cubicBezTo>
                  <a:cubicBezTo>
                    <a:pt x="4" y="759"/>
                    <a:pt x="4" y="759"/>
                    <a:pt x="4" y="759"/>
                  </a:cubicBezTo>
                  <a:cubicBezTo>
                    <a:pt x="4" y="762"/>
                    <a:pt x="4" y="762"/>
                    <a:pt x="4" y="762"/>
                  </a:cubicBezTo>
                  <a:cubicBezTo>
                    <a:pt x="4" y="767"/>
                    <a:pt x="5" y="771"/>
                    <a:pt x="5" y="776"/>
                  </a:cubicBezTo>
                  <a:cubicBezTo>
                    <a:pt x="7" y="785"/>
                    <a:pt x="9" y="794"/>
                    <a:pt x="12" y="803"/>
                  </a:cubicBezTo>
                  <a:cubicBezTo>
                    <a:pt x="19" y="820"/>
                    <a:pt x="28" y="835"/>
                    <a:pt x="39" y="848"/>
                  </a:cubicBezTo>
                  <a:cubicBezTo>
                    <a:pt x="51" y="861"/>
                    <a:pt x="63" y="872"/>
                    <a:pt x="77" y="882"/>
                  </a:cubicBezTo>
                  <a:cubicBezTo>
                    <a:pt x="91" y="891"/>
                    <a:pt x="105" y="898"/>
                    <a:pt x="121" y="904"/>
                  </a:cubicBezTo>
                  <a:cubicBezTo>
                    <a:pt x="136" y="910"/>
                    <a:pt x="153" y="914"/>
                    <a:pt x="170" y="916"/>
                  </a:cubicBezTo>
                  <a:cubicBezTo>
                    <a:pt x="174" y="917"/>
                    <a:pt x="179" y="917"/>
                    <a:pt x="183" y="917"/>
                  </a:cubicBezTo>
                  <a:cubicBezTo>
                    <a:pt x="195" y="917"/>
                    <a:pt x="195" y="917"/>
                    <a:pt x="195" y="917"/>
                  </a:cubicBezTo>
                  <a:cubicBezTo>
                    <a:pt x="202" y="917"/>
                    <a:pt x="209" y="917"/>
                    <a:pt x="216" y="917"/>
                  </a:cubicBezTo>
                  <a:cubicBezTo>
                    <a:pt x="228" y="917"/>
                    <a:pt x="228" y="917"/>
                    <a:pt x="228" y="917"/>
                  </a:cubicBezTo>
                  <a:cubicBezTo>
                    <a:pt x="233" y="916"/>
                    <a:pt x="233" y="916"/>
                    <a:pt x="233" y="916"/>
                  </a:cubicBezTo>
                  <a:cubicBezTo>
                    <a:pt x="238" y="916"/>
                    <a:pt x="238" y="916"/>
                    <a:pt x="238" y="916"/>
                  </a:cubicBezTo>
                  <a:cubicBezTo>
                    <a:pt x="243" y="916"/>
                    <a:pt x="243" y="916"/>
                    <a:pt x="243" y="916"/>
                  </a:cubicBezTo>
                  <a:cubicBezTo>
                    <a:pt x="256" y="914"/>
                    <a:pt x="269" y="913"/>
                    <a:pt x="279" y="906"/>
                  </a:cubicBezTo>
                  <a:cubicBezTo>
                    <a:pt x="284" y="904"/>
                    <a:pt x="289" y="899"/>
                    <a:pt x="293" y="894"/>
                  </a:cubicBezTo>
                  <a:cubicBezTo>
                    <a:pt x="296" y="890"/>
                    <a:pt x="299" y="884"/>
                    <a:pt x="301" y="879"/>
                  </a:cubicBezTo>
                  <a:cubicBezTo>
                    <a:pt x="301" y="876"/>
                    <a:pt x="302" y="873"/>
                    <a:pt x="303" y="870"/>
                  </a:cubicBezTo>
                  <a:cubicBezTo>
                    <a:pt x="303" y="866"/>
                    <a:pt x="303" y="863"/>
                    <a:pt x="303" y="860"/>
                  </a:cubicBezTo>
                  <a:cubicBezTo>
                    <a:pt x="303" y="841"/>
                    <a:pt x="303" y="841"/>
                    <a:pt x="303" y="841"/>
                  </a:cubicBezTo>
                  <a:cubicBezTo>
                    <a:pt x="303" y="827"/>
                    <a:pt x="303" y="813"/>
                    <a:pt x="303" y="799"/>
                  </a:cubicBezTo>
                  <a:cubicBezTo>
                    <a:pt x="303" y="742"/>
                    <a:pt x="303" y="685"/>
                    <a:pt x="303" y="628"/>
                  </a:cubicBezTo>
                  <a:cubicBezTo>
                    <a:pt x="304" y="607"/>
                    <a:pt x="304" y="607"/>
                    <a:pt x="304" y="607"/>
                  </a:cubicBezTo>
                  <a:cubicBezTo>
                    <a:pt x="304" y="602"/>
                    <a:pt x="304" y="597"/>
                    <a:pt x="305" y="592"/>
                  </a:cubicBezTo>
                  <a:cubicBezTo>
                    <a:pt x="307" y="582"/>
                    <a:pt x="311" y="573"/>
                    <a:pt x="317" y="564"/>
                  </a:cubicBezTo>
                  <a:cubicBezTo>
                    <a:pt x="328" y="547"/>
                    <a:pt x="345" y="534"/>
                    <a:pt x="364" y="529"/>
                  </a:cubicBezTo>
                  <a:cubicBezTo>
                    <a:pt x="369" y="527"/>
                    <a:pt x="374" y="526"/>
                    <a:pt x="379" y="526"/>
                  </a:cubicBezTo>
                  <a:cubicBezTo>
                    <a:pt x="381" y="526"/>
                    <a:pt x="383" y="526"/>
                    <a:pt x="386" y="526"/>
                  </a:cubicBezTo>
                  <a:cubicBezTo>
                    <a:pt x="389" y="526"/>
                    <a:pt x="392" y="526"/>
                    <a:pt x="395" y="526"/>
                  </a:cubicBezTo>
                  <a:cubicBezTo>
                    <a:pt x="407" y="526"/>
                    <a:pt x="419" y="528"/>
                    <a:pt x="430" y="531"/>
                  </a:cubicBezTo>
                  <a:cubicBezTo>
                    <a:pt x="454" y="537"/>
                    <a:pt x="476" y="548"/>
                    <a:pt x="498" y="562"/>
                  </a:cubicBezTo>
                  <a:cubicBezTo>
                    <a:pt x="520" y="576"/>
                    <a:pt x="541" y="593"/>
                    <a:pt x="561" y="611"/>
                  </a:cubicBezTo>
                  <a:cubicBezTo>
                    <a:pt x="582" y="628"/>
                    <a:pt x="602" y="648"/>
                    <a:pt x="623" y="667"/>
                  </a:cubicBezTo>
                  <a:cubicBezTo>
                    <a:pt x="633" y="677"/>
                    <a:pt x="644" y="687"/>
                    <a:pt x="654" y="695"/>
                  </a:cubicBezTo>
                  <a:cubicBezTo>
                    <a:pt x="665" y="705"/>
                    <a:pt x="675" y="714"/>
                    <a:pt x="685" y="723"/>
                  </a:cubicBezTo>
                  <a:cubicBezTo>
                    <a:pt x="706" y="742"/>
                    <a:pt x="726" y="761"/>
                    <a:pt x="748" y="779"/>
                  </a:cubicBezTo>
                  <a:cubicBezTo>
                    <a:pt x="770" y="797"/>
                    <a:pt x="794" y="815"/>
                    <a:pt x="820" y="829"/>
                  </a:cubicBezTo>
                  <a:cubicBezTo>
                    <a:pt x="834" y="837"/>
                    <a:pt x="848" y="843"/>
                    <a:pt x="863" y="848"/>
                  </a:cubicBezTo>
                  <a:cubicBezTo>
                    <a:pt x="878" y="853"/>
                    <a:pt x="894" y="856"/>
                    <a:pt x="911" y="857"/>
                  </a:cubicBezTo>
                  <a:cubicBezTo>
                    <a:pt x="927" y="858"/>
                    <a:pt x="943" y="857"/>
                    <a:pt x="959" y="854"/>
                  </a:cubicBezTo>
                  <a:cubicBezTo>
                    <a:pt x="974" y="851"/>
                    <a:pt x="989" y="846"/>
                    <a:pt x="1003" y="840"/>
                  </a:cubicBezTo>
                  <a:cubicBezTo>
                    <a:pt x="1031" y="827"/>
                    <a:pt x="1054" y="811"/>
                    <a:pt x="1076" y="795"/>
                  </a:cubicBezTo>
                  <a:cubicBezTo>
                    <a:pt x="1097" y="778"/>
                    <a:pt x="1117" y="761"/>
                    <a:pt x="1135" y="744"/>
                  </a:cubicBezTo>
                  <a:cubicBezTo>
                    <a:pt x="1154" y="727"/>
                    <a:pt x="1172" y="710"/>
                    <a:pt x="1190" y="694"/>
                  </a:cubicBezTo>
                  <a:cubicBezTo>
                    <a:pt x="1195" y="690"/>
                    <a:pt x="1199" y="686"/>
                    <a:pt x="1203" y="682"/>
                  </a:cubicBezTo>
                  <a:cubicBezTo>
                    <a:pt x="1208" y="678"/>
                    <a:pt x="1213" y="673"/>
                    <a:pt x="1217" y="669"/>
                  </a:cubicBezTo>
                  <a:cubicBezTo>
                    <a:pt x="1226" y="661"/>
                    <a:pt x="1235" y="653"/>
                    <a:pt x="1243" y="644"/>
                  </a:cubicBezTo>
                  <a:cubicBezTo>
                    <a:pt x="1260" y="628"/>
                    <a:pt x="1277" y="613"/>
                    <a:pt x="1294" y="598"/>
                  </a:cubicBezTo>
                  <a:cubicBezTo>
                    <a:pt x="1327" y="569"/>
                    <a:pt x="1361" y="546"/>
                    <a:pt x="1396" y="532"/>
                  </a:cubicBezTo>
                  <a:cubicBezTo>
                    <a:pt x="1414" y="526"/>
                    <a:pt x="1431" y="522"/>
                    <a:pt x="1449" y="520"/>
                  </a:cubicBezTo>
                  <a:cubicBezTo>
                    <a:pt x="1453" y="520"/>
                    <a:pt x="1458" y="520"/>
                    <a:pt x="1462" y="520"/>
                  </a:cubicBezTo>
                  <a:cubicBezTo>
                    <a:pt x="1465" y="520"/>
                    <a:pt x="1469" y="520"/>
                    <a:pt x="1473" y="520"/>
                  </a:cubicBezTo>
                  <a:cubicBezTo>
                    <a:pt x="1480" y="521"/>
                    <a:pt x="1487" y="523"/>
                    <a:pt x="1494" y="526"/>
                  </a:cubicBezTo>
                  <a:cubicBezTo>
                    <a:pt x="1508" y="532"/>
                    <a:pt x="1520" y="541"/>
                    <a:pt x="1529" y="551"/>
                  </a:cubicBezTo>
                  <a:cubicBezTo>
                    <a:pt x="1538" y="562"/>
                    <a:pt x="1544" y="575"/>
                    <a:pt x="1548" y="588"/>
                  </a:cubicBezTo>
                  <a:cubicBezTo>
                    <a:pt x="1550" y="594"/>
                    <a:pt x="1550" y="601"/>
                    <a:pt x="1551" y="607"/>
                  </a:cubicBezTo>
                  <a:cubicBezTo>
                    <a:pt x="1551" y="616"/>
                    <a:pt x="1551" y="624"/>
                    <a:pt x="1551" y="632"/>
                  </a:cubicBezTo>
                  <a:cubicBezTo>
                    <a:pt x="1551" y="649"/>
                    <a:pt x="1552" y="665"/>
                    <a:pt x="1552" y="680"/>
                  </a:cubicBezTo>
                  <a:cubicBezTo>
                    <a:pt x="1552" y="696"/>
                    <a:pt x="1552" y="711"/>
                    <a:pt x="1553" y="726"/>
                  </a:cubicBezTo>
                  <a:cubicBezTo>
                    <a:pt x="1553" y="733"/>
                    <a:pt x="1553" y="741"/>
                    <a:pt x="1553" y="748"/>
                  </a:cubicBezTo>
                  <a:cubicBezTo>
                    <a:pt x="1553" y="751"/>
                    <a:pt x="1553" y="755"/>
                    <a:pt x="1553" y="759"/>
                  </a:cubicBezTo>
                  <a:cubicBezTo>
                    <a:pt x="1553" y="763"/>
                    <a:pt x="1554" y="767"/>
                    <a:pt x="1554" y="772"/>
                  </a:cubicBezTo>
                  <a:cubicBezTo>
                    <a:pt x="1557" y="789"/>
                    <a:pt x="1563" y="804"/>
                    <a:pt x="1570" y="817"/>
                  </a:cubicBezTo>
                  <a:cubicBezTo>
                    <a:pt x="1578" y="830"/>
                    <a:pt x="1587" y="840"/>
                    <a:pt x="1597" y="849"/>
                  </a:cubicBezTo>
                  <a:cubicBezTo>
                    <a:pt x="1615" y="867"/>
                    <a:pt x="1636" y="879"/>
                    <a:pt x="1655" y="887"/>
                  </a:cubicBezTo>
                  <a:cubicBezTo>
                    <a:pt x="1674" y="895"/>
                    <a:pt x="1693" y="899"/>
                    <a:pt x="1711" y="901"/>
                  </a:cubicBezTo>
                  <a:cubicBezTo>
                    <a:pt x="1720" y="902"/>
                    <a:pt x="1730" y="902"/>
                    <a:pt x="1737" y="901"/>
                  </a:cubicBezTo>
                  <a:cubicBezTo>
                    <a:pt x="1745" y="901"/>
                    <a:pt x="1752" y="901"/>
                    <a:pt x="1759" y="900"/>
                  </a:cubicBezTo>
                  <a:cubicBezTo>
                    <a:pt x="1763" y="900"/>
                    <a:pt x="1766" y="899"/>
                    <a:pt x="1770" y="899"/>
                  </a:cubicBezTo>
                  <a:cubicBezTo>
                    <a:pt x="1772" y="899"/>
                    <a:pt x="1774" y="899"/>
                    <a:pt x="1776" y="899"/>
                  </a:cubicBezTo>
                  <a:cubicBezTo>
                    <a:pt x="1778" y="898"/>
                    <a:pt x="1781" y="898"/>
                    <a:pt x="1783" y="898"/>
                  </a:cubicBezTo>
                  <a:cubicBezTo>
                    <a:pt x="1793" y="897"/>
                    <a:pt x="1801" y="895"/>
                    <a:pt x="1809" y="891"/>
                  </a:cubicBezTo>
                  <a:cubicBezTo>
                    <a:pt x="1812" y="889"/>
                    <a:pt x="1815" y="886"/>
                    <a:pt x="1818" y="883"/>
                  </a:cubicBezTo>
                  <a:cubicBezTo>
                    <a:pt x="1820" y="879"/>
                    <a:pt x="1821" y="875"/>
                    <a:pt x="1822" y="871"/>
                  </a:cubicBezTo>
                  <a:cubicBezTo>
                    <a:pt x="1824" y="863"/>
                    <a:pt x="1823" y="855"/>
                    <a:pt x="1823" y="84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 name="Freeform 18">
              <a:extLst>
                <a:ext uri="{FF2B5EF4-FFF2-40B4-BE49-F238E27FC236}">
                  <a16:creationId xmlns:a16="http://schemas.microsoft.com/office/drawing/2014/main" id="{D717557C-9D3A-442D-B73B-672B9CC96456}"/>
                </a:ext>
              </a:extLst>
            </p:cNvPr>
            <p:cNvSpPr>
              <a:spLocks noEditPoints="1"/>
            </p:cNvSpPr>
            <p:nvPr>
              <p:custDataLst>
                <p:tags r:id="rId3"/>
              </p:custDataLst>
            </p:nvPr>
          </p:nvSpPr>
          <p:spPr bwMode="gray">
            <a:xfrm>
              <a:off x="2663826" y="1716088"/>
              <a:ext cx="6837363" cy="3429000"/>
            </a:xfrm>
            <a:custGeom>
              <a:avLst/>
              <a:gdLst>
                <a:gd name="T0" fmla="*/ 766 w 1820"/>
                <a:gd name="T1" fmla="*/ 724 h 912"/>
                <a:gd name="T2" fmla="*/ 242 w 1820"/>
                <a:gd name="T3" fmla="*/ 667 h 912"/>
                <a:gd name="T4" fmla="*/ 177 w 1820"/>
                <a:gd name="T5" fmla="*/ 856 h 912"/>
                <a:gd name="T6" fmla="*/ 53 w 1820"/>
                <a:gd name="T7" fmla="*/ 533 h 912"/>
                <a:gd name="T8" fmla="*/ 364 w 1820"/>
                <a:gd name="T9" fmla="*/ 112 h 912"/>
                <a:gd name="T10" fmla="*/ 918 w 1820"/>
                <a:gd name="T11" fmla="*/ 427 h 912"/>
                <a:gd name="T12" fmla="*/ 536 w 1820"/>
                <a:gd name="T13" fmla="*/ 234 h 912"/>
                <a:gd name="T14" fmla="*/ 164 w 1820"/>
                <a:gd name="T15" fmla="*/ 13 h 912"/>
                <a:gd name="T16" fmla="*/ 112 w 1820"/>
                <a:gd name="T17" fmla="*/ 882 h 912"/>
                <a:gd name="T18" fmla="*/ 282 w 1820"/>
                <a:gd name="T19" fmla="*/ 868 h 912"/>
                <a:gd name="T20" fmla="*/ 382 w 1820"/>
                <a:gd name="T21" fmla="*/ 504 h 912"/>
                <a:gd name="T22" fmla="*/ 990 w 1820"/>
                <a:gd name="T23" fmla="*/ 815 h 912"/>
                <a:gd name="T24" fmla="*/ 582 w 1820"/>
                <a:gd name="T25" fmla="*/ 589 h 912"/>
                <a:gd name="T26" fmla="*/ 278 w 1820"/>
                <a:gd name="T27" fmla="*/ 834 h 912"/>
                <a:gd name="T28" fmla="*/ 183 w 1820"/>
                <a:gd name="T29" fmla="*/ 891 h 912"/>
                <a:gd name="T30" fmla="*/ 20 w 1820"/>
                <a:gd name="T31" fmla="*/ 636 h 912"/>
                <a:gd name="T32" fmla="*/ 332 w 1820"/>
                <a:gd name="T33" fmla="*/ 52 h 912"/>
                <a:gd name="T34" fmla="*/ 749 w 1820"/>
                <a:gd name="T35" fmla="*/ 392 h 912"/>
                <a:gd name="T36" fmla="*/ 494 w 1820"/>
                <a:gd name="T37" fmla="*/ 228 h 912"/>
                <a:gd name="T38" fmla="*/ 50 w 1820"/>
                <a:gd name="T39" fmla="*/ 710 h 912"/>
                <a:gd name="T40" fmla="*/ 230 w 1820"/>
                <a:gd name="T41" fmla="*/ 860 h 912"/>
                <a:gd name="T42" fmla="*/ 253 w 1820"/>
                <a:gd name="T43" fmla="*/ 576 h 912"/>
                <a:gd name="T44" fmla="*/ 742 w 1820"/>
                <a:gd name="T45" fmla="*/ 718 h 912"/>
                <a:gd name="T46" fmla="*/ 1791 w 1820"/>
                <a:gd name="T47" fmla="*/ 805 h 912"/>
                <a:gd name="T48" fmla="*/ 1713 w 1820"/>
                <a:gd name="T49" fmla="*/ 860 h 912"/>
                <a:gd name="T50" fmla="*/ 1597 w 1820"/>
                <a:gd name="T51" fmla="*/ 604 h 912"/>
                <a:gd name="T52" fmla="*/ 1123 w 1820"/>
                <a:gd name="T53" fmla="*/ 664 h 912"/>
                <a:gd name="T54" fmla="*/ 443 w 1820"/>
                <a:gd name="T55" fmla="*/ 462 h 912"/>
                <a:gd name="T56" fmla="*/ 232 w 1820"/>
                <a:gd name="T57" fmla="*/ 788 h 912"/>
                <a:gd name="T58" fmla="*/ 141 w 1820"/>
                <a:gd name="T59" fmla="*/ 836 h 912"/>
                <a:gd name="T60" fmla="*/ 147 w 1820"/>
                <a:gd name="T61" fmla="*/ 64 h 912"/>
                <a:gd name="T62" fmla="*/ 539 w 1820"/>
                <a:gd name="T63" fmla="*/ 298 h 912"/>
                <a:gd name="T64" fmla="*/ 1221 w 1820"/>
                <a:gd name="T65" fmla="*/ 350 h 912"/>
                <a:gd name="T66" fmla="*/ 1564 w 1820"/>
                <a:gd name="T67" fmla="*/ 30 h 912"/>
                <a:gd name="T68" fmla="*/ 827 w 1820"/>
                <a:gd name="T69" fmla="*/ 387 h 912"/>
                <a:gd name="T70" fmla="*/ 382 w 1820"/>
                <a:gd name="T71" fmla="*/ 68 h 912"/>
                <a:gd name="T72" fmla="*/ 3 w 1820"/>
                <a:gd name="T73" fmla="*/ 42 h 912"/>
                <a:gd name="T74" fmla="*/ 35 w 1820"/>
                <a:gd name="T75" fmla="*/ 843 h 912"/>
                <a:gd name="T76" fmla="*/ 275 w 1820"/>
                <a:gd name="T77" fmla="*/ 901 h 912"/>
                <a:gd name="T78" fmla="*/ 360 w 1820"/>
                <a:gd name="T79" fmla="*/ 524 h 912"/>
                <a:gd name="T80" fmla="*/ 816 w 1820"/>
                <a:gd name="T81" fmla="*/ 824 h 912"/>
                <a:gd name="T82" fmla="*/ 1290 w 1820"/>
                <a:gd name="T83" fmla="*/ 593 h 912"/>
                <a:gd name="T84" fmla="*/ 1549 w 1820"/>
                <a:gd name="T85" fmla="*/ 721 h 912"/>
                <a:gd name="T86" fmla="*/ 1772 w 1820"/>
                <a:gd name="T87" fmla="*/ 894 h 912"/>
                <a:gd name="T88" fmla="*/ 1760 w 1820"/>
                <a:gd name="T89" fmla="*/ 884 h 912"/>
                <a:gd name="T90" fmla="*/ 1556 w 1820"/>
                <a:gd name="T91" fmla="*/ 628 h 912"/>
                <a:gd name="T92" fmla="*/ 1200 w 1820"/>
                <a:gd name="T93" fmla="*/ 668 h 912"/>
                <a:gd name="T94" fmla="*/ 633 w 1820"/>
                <a:gd name="T95" fmla="*/ 669 h 912"/>
                <a:gd name="T96" fmla="*/ 295 w 1820"/>
                <a:gd name="T97" fmla="*/ 600 h 912"/>
                <a:gd name="T98" fmla="*/ 279 w 1820"/>
                <a:gd name="T99" fmla="*/ 893 h 912"/>
                <a:gd name="T100" fmla="*/ 22 w 1820"/>
                <a:gd name="T101" fmla="*/ 818 h 912"/>
                <a:gd name="T102" fmla="*/ 278 w 1820"/>
                <a:gd name="T103" fmla="*/ 15 h 912"/>
                <a:gd name="T104" fmla="*/ 1281 w 1820"/>
                <a:gd name="T105" fmla="*/ 260 h 912"/>
                <a:gd name="T106" fmla="*/ 1161 w 1820"/>
                <a:gd name="T107" fmla="*/ 381 h 912"/>
                <a:gd name="T108" fmla="*/ 368 w 1820"/>
                <a:gd name="T109" fmla="*/ 130 h 912"/>
                <a:gd name="T110" fmla="*/ 63 w 1820"/>
                <a:gd name="T111" fmla="*/ 68 h 912"/>
                <a:gd name="T112" fmla="*/ 186 w 1820"/>
                <a:gd name="T113" fmla="*/ 848 h 912"/>
                <a:gd name="T114" fmla="*/ 235 w 1820"/>
                <a:gd name="T115" fmla="*/ 593 h 912"/>
                <a:gd name="T116" fmla="*/ 665 w 1820"/>
                <a:gd name="T117" fmla="*/ 619 h 912"/>
                <a:gd name="T118" fmla="*/ 1141 w 1820"/>
                <a:gd name="T119" fmla="*/ 651 h 912"/>
                <a:gd name="T120" fmla="*/ 1593 w 1820"/>
                <a:gd name="T121" fmla="*/ 597 h 912"/>
                <a:gd name="T122" fmla="*/ 1745 w 1820"/>
                <a:gd name="T123" fmla="*/ 865 h 912"/>
                <a:gd name="T124" fmla="*/ 1796 w 1820"/>
                <a:gd name="T125" fmla="*/ 811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912">
                  <a:moveTo>
                    <a:pt x="1297" y="537"/>
                  </a:moveTo>
                  <a:cubicBezTo>
                    <a:pt x="1277" y="550"/>
                    <a:pt x="1259" y="564"/>
                    <a:pt x="1235" y="585"/>
                  </a:cubicBezTo>
                  <a:cubicBezTo>
                    <a:pt x="1220" y="598"/>
                    <a:pt x="1201" y="615"/>
                    <a:pt x="1181" y="633"/>
                  </a:cubicBezTo>
                  <a:cubicBezTo>
                    <a:pt x="1176" y="637"/>
                    <a:pt x="1171" y="642"/>
                    <a:pt x="1166" y="646"/>
                  </a:cubicBezTo>
                  <a:cubicBezTo>
                    <a:pt x="1161" y="651"/>
                    <a:pt x="1155" y="656"/>
                    <a:pt x="1150" y="660"/>
                  </a:cubicBezTo>
                  <a:cubicBezTo>
                    <a:pt x="1139" y="670"/>
                    <a:pt x="1127" y="680"/>
                    <a:pt x="1116" y="690"/>
                  </a:cubicBezTo>
                  <a:cubicBezTo>
                    <a:pt x="1090" y="713"/>
                    <a:pt x="1064" y="737"/>
                    <a:pt x="1036" y="757"/>
                  </a:cubicBezTo>
                  <a:cubicBezTo>
                    <a:pt x="1008" y="777"/>
                    <a:pt x="978" y="794"/>
                    <a:pt x="946" y="800"/>
                  </a:cubicBezTo>
                  <a:cubicBezTo>
                    <a:pt x="930" y="804"/>
                    <a:pt x="914" y="804"/>
                    <a:pt x="898" y="801"/>
                  </a:cubicBezTo>
                  <a:cubicBezTo>
                    <a:pt x="882" y="798"/>
                    <a:pt x="866" y="792"/>
                    <a:pt x="850" y="785"/>
                  </a:cubicBezTo>
                  <a:cubicBezTo>
                    <a:pt x="820" y="769"/>
                    <a:pt x="792" y="747"/>
                    <a:pt x="766" y="724"/>
                  </a:cubicBezTo>
                  <a:cubicBezTo>
                    <a:pt x="741" y="702"/>
                    <a:pt x="715" y="677"/>
                    <a:pt x="688" y="652"/>
                  </a:cubicBezTo>
                  <a:cubicBezTo>
                    <a:pt x="681" y="646"/>
                    <a:pt x="674" y="640"/>
                    <a:pt x="667" y="634"/>
                  </a:cubicBezTo>
                  <a:cubicBezTo>
                    <a:pt x="661" y="627"/>
                    <a:pt x="654" y="621"/>
                    <a:pt x="647" y="615"/>
                  </a:cubicBezTo>
                  <a:cubicBezTo>
                    <a:pt x="633" y="602"/>
                    <a:pt x="620" y="588"/>
                    <a:pt x="605" y="575"/>
                  </a:cubicBezTo>
                  <a:cubicBezTo>
                    <a:pt x="576" y="549"/>
                    <a:pt x="545" y="522"/>
                    <a:pt x="508" y="501"/>
                  </a:cubicBezTo>
                  <a:cubicBezTo>
                    <a:pt x="490" y="490"/>
                    <a:pt x="470" y="481"/>
                    <a:pt x="449" y="474"/>
                  </a:cubicBezTo>
                  <a:cubicBezTo>
                    <a:pt x="428" y="468"/>
                    <a:pt x="405" y="464"/>
                    <a:pt x="383" y="464"/>
                  </a:cubicBezTo>
                  <a:cubicBezTo>
                    <a:pt x="358" y="464"/>
                    <a:pt x="334" y="470"/>
                    <a:pt x="312" y="483"/>
                  </a:cubicBezTo>
                  <a:cubicBezTo>
                    <a:pt x="291" y="495"/>
                    <a:pt x="274" y="513"/>
                    <a:pt x="261" y="534"/>
                  </a:cubicBezTo>
                  <a:cubicBezTo>
                    <a:pt x="249" y="555"/>
                    <a:pt x="242" y="580"/>
                    <a:pt x="242" y="605"/>
                  </a:cubicBezTo>
                  <a:cubicBezTo>
                    <a:pt x="242" y="625"/>
                    <a:pt x="242" y="646"/>
                    <a:pt x="242" y="667"/>
                  </a:cubicBezTo>
                  <a:cubicBezTo>
                    <a:pt x="242" y="708"/>
                    <a:pt x="243" y="750"/>
                    <a:pt x="243" y="791"/>
                  </a:cubicBezTo>
                  <a:cubicBezTo>
                    <a:pt x="243" y="809"/>
                    <a:pt x="243" y="826"/>
                    <a:pt x="243" y="844"/>
                  </a:cubicBezTo>
                  <a:cubicBezTo>
                    <a:pt x="243" y="846"/>
                    <a:pt x="243" y="849"/>
                    <a:pt x="242" y="851"/>
                  </a:cubicBezTo>
                  <a:cubicBezTo>
                    <a:pt x="241" y="852"/>
                    <a:pt x="240" y="853"/>
                    <a:pt x="239" y="853"/>
                  </a:cubicBezTo>
                  <a:cubicBezTo>
                    <a:pt x="238" y="854"/>
                    <a:pt x="237" y="854"/>
                    <a:pt x="236" y="854"/>
                  </a:cubicBezTo>
                  <a:cubicBezTo>
                    <a:pt x="234" y="855"/>
                    <a:pt x="232" y="855"/>
                    <a:pt x="229" y="855"/>
                  </a:cubicBezTo>
                  <a:cubicBezTo>
                    <a:pt x="226" y="855"/>
                    <a:pt x="226" y="855"/>
                    <a:pt x="226" y="855"/>
                  </a:cubicBezTo>
                  <a:cubicBezTo>
                    <a:pt x="219" y="856"/>
                    <a:pt x="219" y="856"/>
                    <a:pt x="219" y="856"/>
                  </a:cubicBezTo>
                  <a:cubicBezTo>
                    <a:pt x="209" y="856"/>
                    <a:pt x="200" y="856"/>
                    <a:pt x="191" y="856"/>
                  </a:cubicBezTo>
                  <a:cubicBezTo>
                    <a:pt x="184" y="856"/>
                    <a:pt x="184" y="856"/>
                    <a:pt x="184" y="856"/>
                  </a:cubicBezTo>
                  <a:cubicBezTo>
                    <a:pt x="181" y="856"/>
                    <a:pt x="180" y="856"/>
                    <a:pt x="177" y="856"/>
                  </a:cubicBezTo>
                  <a:cubicBezTo>
                    <a:pt x="173" y="856"/>
                    <a:pt x="169" y="856"/>
                    <a:pt x="165" y="855"/>
                  </a:cubicBezTo>
                  <a:cubicBezTo>
                    <a:pt x="149" y="853"/>
                    <a:pt x="133" y="847"/>
                    <a:pt x="117" y="839"/>
                  </a:cubicBezTo>
                  <a:cubicBezTo>
                    <a:pt x="102" y="831"/>
                    <a:pt x="89" y="821"/>
                    <a:pt x="77" y="808"/>
                  </a:cubicBezTo>
                  <a:cubicBezTo>
                    <a:pt x="66" y="796"/>
                    <a:pt x="58" y="782"/>
                    <a:pt x="55" y="766"/>
                  </a:cubicBezTo>
                  <a:cubicBezTo>
                    <a:pt x="55" y="763"/>
                    <a:pt x="54" y="759"/>
                    <a:pt x="54" y="755"/>
                  </a:cubicBezTo>
                  <a:cubicBezTo>
                    <a:pt x="54" y="752"/>
                    <a:pt x="54" y="752"/>
                    <a:pt x="54" y="752"/>
                  </a:cubicBezTo>
                  <a:cubicBezTo>
                    <a:pt x="54" y="748"/>
                    <a:pt x="54" y="748"/>
                    <a:pt x="54" y="748"/>
                  </a:cubicBezTo>
                  <a:cubicBezTo>
                    <a:pt x="54" y="741"/>
                    <a:pt x="54" y="741"/>
                    <a:pt x="54" y="741"/>
                  </a:cubicBezTo>
                  <a:cubicBezTo>
                    <a:pt x="54" y="731"/>
                    <a:pt x="54" y="721"/>
                    <a:pt x="54" y="712"/>
                  </a:cubicBezTo>
                  <a:cubicBezTo>
                    <a:pt x="54" y="692"/>
                    <a:pt x="54" y="672"/>
                    <a:pt x="53" y="652"/>
                  </a:cubicBezTo>
                  <a:cubicBezTo>
                    <a:pt x="53" y="613"/>
                    <a:pt x="53" y="573"/>
                    <a:pt x="53" y="533"/>
                  </a:cubicBezTo>
                  <a:cubicBezTo>
                    <a:pt x="53" y="376"/>
                    <a:pt x="52" y="68"/>
                    <a:pt x="52" y="62"/>
                  </a:cubicBezTo>
                  <a:cubicBezTo>
                    <a:pt x="52" y="51"/>
                    <a:pt x="55" y="48"/>
                    <a:pt x="66" y="48"/>
                  </a:cubicBezTo>
                  <a:cubicBezTo>
                    <a:pt x="82" y="48"/>
                    <a:pt x="118" y="47"/>
                    <a:pt x="144" y="47"/>
                  </a:cubicBezTo>
                  <a:cubicBezTo>
                    <a:pt x="158" y="47"/>
                    <a:pt x="172" y="47"/>
                    <a:pt x="186" y="47"/>
                  </a:cubicBezTo>
                  <a:cubicBezTo>
                    <a:pt x="193" y="47"/>
                    <a:pt x="200" y="47"/>
                    <a:pt x="207" y="47"/>
                  </a:cubicBezTo>
                  <a:cubicBezTo>
                    <a:pt x="218" y="47"/>
                    <a:pt x="218" y="47"/>
                    <a:pt x="218" y="47"/>
                  </a:cubicBezTo>
                  <a:cubicBezTo>
                    <a:pt x="221" y="47"/>
                    <a:pt x="224" y="47"/>
                    <a:pt x="227" y="48"/>
                  </a:cubicBezTo>
                  <a:cubicBezTo>
                    <a:pt x="253" y="49"/>
                    <a:pt x="278" y="56"/>
                    <a:pt x="302" y="67"/>
                  </a:cubicBezTo>
                  <a:cubicBezTo>
                    <a:pt x="313" y="73"/>
                    <a:pt x="324" y="79"/>
                    <a:pt x="335" y="87"/>
                  </a:cubicBezTo>
                  <a:cubicBezTo>
                    <a:pt x="340" y="90"/>
                    <a:pt x="345" y="94"/>
                    <a:pt x="349" y="99"/>
                  </a:cubicBezTo>
                  <a:cubicBezTo>
                    <a:pt x="354" y="103"/>
                    <a:pt x="359" y="108"/>
                    <a:pt x="364" y="112"/>
                  </a:cubicBezTo>
                  <a:cubicBezTo>
                    <a:pt x="404" y="150"/>
                    <a:pt x="444" y="186"/>
                    <a:pt x="483" y="223"/>
                  </a:cubicBezTo>
                  <a:cubicBezTo>
                    <a:pt x="502" y="241"/>
                    <a:pt x="521" y="259"/>
                    <a:pt x="540" y="276"/>
                  </a:cubicBezTo>
                  <a:cubicBezTo>
                    <a:pt x="548" y="283"/>
                    <a:pt x="548" y="283"/>
                    <a:pt x="548" y="283"/>
                  </a:cubicBezTo>
                  <a:cubicBezTo>
                    <a:pt x="551" y="286"/>
                    <a:pt x="551" y="286"/>
                    <a:pt x="551" y="286"/>
                  </a:cubicBezTo>
                  <a:cubicBezTo>
                    <a:pt x="554" y="290"/>
                    <a:pt x="554" y="290"/>
                    <a:pt x="554" y="290"/>
                  </a:cubicBezTo>
                  <a:cubicBezTo>
                    <a:pt x="559" y="294"/>
                    <a:pt x="564" y="299"/>
                    <a:pt x="569" y="303"/>
                  </a:cubicBezTo>
                  <a:cubicBezTo>
                    <a:pt x="579" y="312"/>
                    <a:pt x="589" y="321"/>
                    <a:pt x="600" y="329"/>
                  </a:cubicBezTo>
                  <a:cubicBezTo>
                    <a:pt x="637" y="357"/>
                    <a:pt x="676" y="377"/>
                    <a:pt x="712" y="392"/>
                  </a:cubicBezTo>
                  <a:cubicBezTo>
                    <a:pt x="748" y="406"/>
                    <a:pt x="782" y="415"/>
                    <a:pt x="811" y="420"/>
                  </a:cubicBezTo>
                  <a:cubicBezTo>
                    <a:pt x="839" y="425"/>
                    <a:pt x="864" y="427"/>
                    <a:pt x="882" y="427"/>
                  </a:cubicBezTo>
                  <a:cubicBezTo>
                    <a:pt x="900" y="428"/>
                    <a:pt x="912" y="427"/>
                    <a:pt x="918" y="427"/>
                  </a:cubicBezTo>
                  <a:cubicBezTo>
                    <a:pt x="940" y="426"/>
                    <a:pt x="956" y="423"/>
                    <a:pt x="967" y="421"/>
                  </a:cubicBezTo>
                  <a:cubicBezTo>
                    <a:pt x="978" y="419"/>
                    <a:pt x="984" y="418"/>
                    <a:pt x="985" y="417"/>
                  </a:cubicBezTo>
                  <a:cubicBezTo>
                    <a:pt x="985" y="415"/>
                    <a:pt x="981" y="415"/>
                    <a:pt x="971" y="415"/>
                  </a:cubicBezTo>
                  <a:cubicBezTo>
                    <a:pt x="961" y="415"/>
                    <a:pt x="948" y="415"/>
                    <a:pt x="924" y="414"/>
                  </a:cubicBezTo>
                  <a:cubicBezTo>
                    <a:pt x="895" y="413"/>
                    <a:pt x="852" y="410"/>
                    <a:pt x="800" y="397"/>
                  </a:cubicBezTo>
                  <a:cubicBezTo>
                    <a:pt x="774" y="390"/>
                    <a:pt x="745" y="381"/>
                    <a:pt x="716" y="368"/>
                  </a:cubicBezTo>
                  <a:cubicBezTo>
                    <a:pt x="686" y="354"/>
                    <a:pt x="655" y="337"/>
                    <a:pt x="626" y="315"/>
                  </a:cubicBezTo>
                  <a:cubicBezTo>
                    <a:pt x="611" y="303"/>
                    <a:pt x="596" y="291"/>
                    <a:pt x="581" y="277"/>
                  </a:cubicBezTo>
                  <a:cubicBezTo>
                    <a:pt x="578" y="274"/>
                    <a:pt x="574" y="270"/>
                    <a:pt x="571" y="267"/>
                  </a:cubicBezTo>
                  <a:cubicBezTo>
                    <a:pt x="567" y="263"/>
                    <a:pt x="563" y="260"/>
                    <a:pt x="559" y="256"/>
                  </a:cubicBezTo>
                  <a:cubicBezTo>
                    <a:pt x="552" y="249"/>
                    <a:pt x="544" y="241"/>
                    <a:pt x="536" y="234"/>
                  </a:cubicBezTo>
                  <a:cubicBezTo>
                    <a:pt x="506" y="204"/>
                    <a:pt x="473" y="173"/>
                    <a:pt x="439" y="140"/>
                  </a:cubicBezTo>
                  <a:cubicBezTo>
                    <a:pt x="422" y="124"/>
                    <a:pt x="405" y="107"/>
                    <a:pt x="387" y="90"/>
                  </a:cubicBezTo>
                  <a:cubicBezTo>
                    <a:pt x="382" y="86"/>
                    <a:pt x="378" y="82"/>
                    <a:pt x="373" y="78"/>
                  </a:cubicBezTo>
                  <a:cubicBezTo>
                    <a:pt x="368" y="73"/>
                    <a:pt x="363" y="69"/>
                    <a:pt x="358" y="65"/>
                  </a:cubicBezTo>
                  <a:cubicBezTo>
                    <a:pt x="348" y="56"/>
                    <a:pt x="336" y="49"/>
                    <a:pt x="324" y="42"/>
                  </a:cubicBezTo>
                  <a:cubicBezTo>
                    <a:pt x="300" y="30"/>
                    <a:pt x="274" y="20"/>
                    <a:pt x="246" y="16"/>
                  </a:cubicBezTo>
                  <a:cubicBezTo>
                    <a:pt x="239" y="15"/>
                    <a:pt x="232" y="15"/>
                    <a:pt x="225" y="14"/>
                  </a:cubicBezTo>
                  <a:cubicBezTo>
                    <a:pt x="220" y="14"/>
                    <a:pt x="220" y="14"/>
                    <a:pt x="220" y="14"/>
                  </a:cubicBezTo>
                  <a:cubicBezTo>
                    <a:pt x="218" y="14"/>
                    <a:pt x="216" y="14"/>
                    <a:pt x="214" y="14"/>
                  </a:cubicBezTo>
                  <a:cubicBezTo>
                    <a:pt x="211" y="14"/>
                    <a:pt x="208" y="14"/>
                    <a:pt x="204" y="14"/>
                  </a:cubicBezTo>
                  <a:cubicBezTo>
                    <a:pt x="191" y="14"/>
                    <a:pt x="177" y="14"/>
                    <a:pt x="164" y="13"/>
                  </a:cubicBezTo>
                  <a:cubicBezTo>
                    <a:pt x="127" y="13"/>
                    <a:pt x="78" y="13"/>
                    <a:pt x="52" y="13"/>
                  </a:cubicBezTo>
                  <a:cubicBezTo>
                    <a:pt x="25" y="13"/>
                    <a:pt x="17" y="29"/>
                    <a:pt x="17" y="48"/>
                  </a:cubicBezTo>
                  <a:cubicBezTo>
                    <a:pt x="17" y="65"/>
                    <a:pt x="16" y="137"/>
                    <a:pt x="16" y="181"/>
                  </a:cubicBezTo>
                  <a:cubicBezTo>
                    <a:pt x="15" y="299"/>
                    <a:pt x="15" y="419"/>
                    <a:pt x="14" y="540"/>
                  </a:cubicBezTo>
                  <a:cubicBezTo>
                    <a:pt x="14" y="600"/>
                    <a:pt x="14" y="660"/>
                    <a:pt x="14" y="721"/>
                  </a:cubicBezTo>
                  <a:cubicBezTo>
                    <a:pt x="14" y="743"/>
                    <a:pt x="14" y="743"/>
                    <a:pt x="14" y="743"/>
                  </a:cubicBezTo>
                  <a:cubicBezTo>
                    <a:pt x="14" y="755"/>
                    <a:pt x="14" y="755"/>
                    <a:pt x="14" y="755"/>
                  </a:cubicBezTo>
                  <a:cubicBezTo>
                    <a:pt x="14" y="759"/>
                    <a:pt x="15" y="764"/>
                    <a:pt x="15" y="769"/>
                  </a:cubicBezTo>
                  <a:cubicBezTo>
                    <a:pt x="18" y="787"/>
                    <a:pt x="25" y="804"/>
                    <a:pt x="35" y="818"/>
                  </a:cubicBezTo>
                  <a:cubicBezTo>
                    <a:pt x="44" y="833"/>
                    <a:pt x="56" y="845"/>
                    <a:pt x="69" y="856"/>
                  </a:cubicBezTo>
                  <a:cubicBezTo>
                    <a:pt x="82" y="866"/>
                    <a:pt x="97" y="875"/>
                    <a:pt x="112" y="882"/>
                  </a:cubicBezTo>
                  <a:cubicBezTo>
                    <a:pt x="127" y="888"/>
                    <a:pt x="143" y="893"/>
                    <a:pt x="160" y="896"/>
                  </a:cubicBezTo>
                  <a:cubicBezTo>
                    <a:pt x="164" y="896"/>
                    <a:pt x="168" y="897"/>
                    <a:pt x="173" y="897"/>
                  </a:cubicBezTo>
                  <a:cubicBezTo>
                    <a:pt x="175" y="897"/>
                    <a:pt x="177" y="897"/>
                    <a:pt x="179" y="897"/>
                  </a:cubicBezTo>
                  <a:cubicBezTo>
                    <a:pt x="185" y="897"/>
                    <a:pt x="185" y="897"/>
                    <a:pt x="185" y="897"/>
                  </a:cubicBezTo>
                  <a:cubicBezTo>
                    <a:pt x="193" y="897"/>
                    <a:pt x="200" y="897"/>
                    <a:pt x="208" y="897"/>
                  </a:cubicBezTo>
                  <a:cubicBezTo>
                    <a:pt x="219" y="897"/>
                    <a:pt x="219" y="897"/>
                    <a:pt x="219" y="897"/>
                  </a:cubicBezTo>
                  <a:cubicBezTo>
                    <a:pt x="225" y="897"/>
                    <a:pt x="225" y="897"/>
                    <a:pt x="225" y="897"/>
                  </a:cubicBezTo>
                  <a:cubicBezTo>
                    <a:pt x="232" y="896"/>
                    <a:pt x="232" y="896"/>
                    <a:pt x="232" y="896"/>
                  </a:cubicBezTo>
                  <a:cubicBezTo>
                    <a:pt x="243" y="896"/>
                    <a:pt x="254" y="894"/>
                    <a:pt x="264" y="891"/>
                  </a:cubicBezTo>
                  <a:cubicBezTo>
                    <a:pt x="268" y="889"/>
                    <a:pt x="273" y="886"/>
                    <a:pt x="276" y="881"/>
                  </a:cubicBezTo>
                  <a:cubicBezTo>
                    <a:pt x="279" y="877"/>
                    <a:pt x="281" y="873"/>
                    <a:pt x="282" y="868"/>
                  </a:cubicBezTo>
                  <a:cubicBezTo>
                    <a:pt x="283" y="865"/>
                    <a:pt x="283" y="863"/>
                    <a:pt x="284" y="860"/>
                  </a:cubicBezTo>
                  <a:cubicBezTo>
                    <a:pt x="284" y="857"/>
                    <a:pt x="284" y="855"/>
                    <a:pt x="284" y="852"/>
                  </a:cubicBezTo>
                  <a:cubicBezTo>
                    <a:pt x="284" y="836"/>
                    <a:pt x="284" y="836"/>
                    <a:pt x="284" y="836"/>
                  </a:cubicBezTo>
                  <a:cubicBezTo>
                    <a:pt x="284" y="777"/>
                    <a:pt x="284" y="719"/>
                    <a:pt x="284" y="661"/>
                  </a:cubicBezTo>
                  <a:cubicBezTo>
                    <a:pt x="284" y="647"/>
                    <a:pt x="284" y="633"/>
                    <a:pt x="284" y="618"/>
                  </a:cubicBezTo>
                  <a:cubicBezTo>
                    <a:pt x="284" y="611"/>
                    <a:pt x="283" y="604"/>
                    <a:pt x="284" y="598"/>
                  </a:cubicBezTo>
                  <a:cubicBezTo>
                    <a:pt x="284" y="592"/>
                    <a:pt x="285" y="586"/>
                    <a:pt x="286" y="581"/>
                  </a:cubicBezTo>
                  <a:cubicBezTo>
                    <a:pt x="292" y="557"/>
                    <a:pt x="306" y="536"/>
                    <a:pt x="325" y="523"/>
                  </a:cubicBezTo>
                  <a:cubicBezTo>
                    <a:pt x="335" y="516"/>
                    <a:pt x="345" y="510"/>
                    <a:pt x="356" y="507"/>
                  </a:cubicBezTo>
                  <a:cubicBezTo>
                    <a:pt x="362" y="506"/>
                    <a:pt x="368" y="505"/>
                    <a:pt x="373" y="504"/>
                  </a:cubicBezTo>
                  <a:cubicBezTo>
                    <a:pt x="376" y="504"/>
                    <a:pt x="379" y="504"/>
                    <a:pt x="382" y="504"/>
                  </a:cubicBezTo>
                  <a:cubicBezTo>
                    <a:pt x="385" y="504"/>
                    <a:pt x="388" y="504"/>
                    <a:pt x="391" y="504"/>
                  </a:cubicBezTo>
                  <a:cubicBezTo>
                    <a:pt x="416" y="505"/>
                    <a:pt x="441" y="511"/>
                    <a:pt x="464" y="521"/>
                  </a:cubicBezTo>
                  <a:cubicBezTo>
                    <a:pt x="487" y="531"/>
                    <a:pt x="508" y="544"/>
                    <a:pt x="528" y="559"/>
                  </a:cubicBezTo>
                  <a:cubicBezTo>
                    <a:pt x="549" y="574"/>
                    <a:pt x="568" y="591"/>
                    <a:pt x="586" y="607"/>
                  </a:cubicBezTo>
                  <a:cubicBezTo>
                    <a:pt x="605" y="624"/>
                    <a:pt x="623" y="641"/>
                    <a:pt x="642" y="658"/>
                  </a:cubicBezTo>
                  <a:cubicBezTo>
                    <a:pt x="651" y="666"/>
                    <a:pt x="660" y="674"/>
                    <a:pt x="669" y="682"/>
                  </a:cubicBezTo>
                  <a:cubicBezTo>
                    <a:pt x="678" y="690"/>
                    <a:pt x="687" y="698"/>
                    <a:pt x="696" y="706"/>
                  </a:cubicBezTo>
                  <a:cubicBezTo>
                    <a:pt x="732" y="737"/>
                    <a:pt x="766" y="769"/>
                    <a:pt x="804" y="793"/>
                  </a:cubicBezTo>
                  <a:cubicBezTo>
                    <a:pt x="824" y="806"/>
                    <a:pt x="844" y="816"/>
                    <a:pt x="865" y="823"/>
                  </a:cubicBezTo>
                  <a:cubicBezTo>
                    <a:pt x="886" y="830"/>
                    <a:pt x="909" y="833"/>
                    <a:pt x="930" y="831"/>
                  </a:cubicBezTo>
                  <a:cubicBezTo>
                    <a:pt x="952" y="829"/>
                    <a:pt x="972" y="823"/>
                    <a:pt x="990" y="815"/>
                  </a:cubicBezTo>
                  <a:cubicBezTo>
                    <a:pt x="1008" y="806"/>
                    <a:pt x="1024" y="796"/>
                    <a:pt x="1039" y="786"/>
                  </a:cubicBezTo>
                  <a:cubicBezTo>
                    <a:pt x="1068" y="765"/>
                    <a:pt x="1092" y="742"/>
                    <a:pt x="1115" y="722"/>
                  </a:cubicBezTo>
                  <a:cubicBezTo>
                    <a:pt x="1136" y="701"/>
                    <a:pt x="1156" y="682"/>
                    <a:pt x="1175" y="665"/>
                  </a:cubicBezTo>
                  <a:cubicBezTo>
                    <a:pt x="1193" y="648"/>
                    <a:pt x="1208" y="632"/>
                    <a:pt x="1222" y="618"/>
                  </a:cubicBezTo>
                  <a:cubicBezTo>
                    <a:pt x="1243" y="597"/>
                    <a:pt x="1255" y="584"/>
                    <a:pt x="1268" y="572"/>
                  </a:cubicBezTo>
                  <a:cubicBezTo>
                    <a:pt x="1287" y="554"/>
                    <a:pt x="1300" y="542"/>
                    <a:pt x="1305" y="536"/>
                  </a:cubicBezTo>
                  <a:cubicBezTo>
                    <a:pt x="1310" y="531"/>
                    <a:pt x="1308" y="530"/>
                    <a:pt x="1297" y="537"/>
                  </a:cubicBezTo>
                  <a:close/>
                  <a:moveTo>
                    <a:pt x="711" y="700"/>
                  </a:moveTo>
                  <a:cubicBezTo>
                    <a:pt x="700" y="691"/>
                    <a:pt x="689" y="682"/>
                    <a:pt x="671" y="667"/>
                  </a:cubicBezTo>
                  <a:cubicBezTo>
                    <a:pt x="659" y="657"/>
                    <a:pt x="645" y="646"/>
                    <a:pt x="631" y="632"/>
                  </a:cubicBezTo>
                  <a:cubicBezTo>
                    <a:pt x="616" y="619"/>
                    <a:pt x="600" y="605"/>
                    <a:pt x="582" y="589"/>
                  </a:cubicBezTo>
                  <a:cubicBezTo>
                    <a:pt x="564" y="574"/>
                    <a:pt x="545" y="558"/>
                    <a:pt x="523" y="543"/>
                  </a:cubicBezTo>
                  <a:cubicBezTo>
                    <a:pt x="501" y="529"/>
                    <a:pt x="476" y="515"/>
                    <a:pt x="448" y="506"/>
                  </a:cubicBezTo>
                  <a:cubicBezTo>
                    <a:pt x="434" y="501"/>
                    <a:pt x="420" y="498"/>
                    <a:pt x="405" y="496"/>
                  </a:cubicBezTo>
                  <a:cubicBezTo>
                    <a:pt x="397" y="496"/>
                    <a:pt x="389" y="495"/>
                    <a:pt x="382" y="495"/>
                  </a:cubicBezTo>
                  <a:cubicBezTo>
                    <a:pt x="374" y="496"/>
                    <a:pt x="367" y="496"/>
                    <a:pt x="359" y="498"/>
                  </a:cubicBezTo>
                  <a:cubicBezTo>
                    <a:pt x="345" y="501"/>
                    <a:pt x="331" y="508"/>
                    <a:pt x="318" y="518"/>
                  </a:cubicBezTo>
                  <a:cubicBezTo>
                    <a:pt x="306" y="527"/>
                    <a:pt x="295" y="540"/>
                    <a:pt x="288" y="554"/>
                  </a:cubicBezTo>
                  <a:cubicBezTo>
                    <a:pt x="281" y="569"/>
                    <a:pt x="276" y="585"/>
                    <a:pt x="276" y="602"/>
                  </a:cubicBezTo>
                  <a:cubicBezTo>
                    <a:pt x="276" y="620"/>
                    <a:pt x="276" y="639"/>
                    <a:pt x="277" y="657"/>
                  </a:cubicBezTo>
                  <a:cubicBezTo>
                    <a:pt x="277" y="695"/>
                    <a:pt x="277" y="734"/>
                    <a:pt x="277" y="774"/>
                  </a:cubicBezTo>
                  <a:cubicBezTo>
                    <a:pt x="277" y="793"/>
                    <a:pt x="278" y="814"/>
                    <a:pt x="278" y="834"/>
                  </a:cubicBezTo>
                  <a:cubicBezTo>
                    <a:pt x="278" y="838"/>
                    <a:pt x="278" y="838"/>
                    <a:pt x="278" y="838"/>
                  </a:cubicBezTo>
                  <a:cubicBezTo>
                    <a:pt x="278" y="843"/>
                    <a:pt x="278" y="843"/>
                    <a:pt x="278" y="843"/>
                  </a:cubicBezTo>
                  <a:cubicBezTo>
                    <a:pt x="278" y="853"/>
                    <a:pt x="278" y="853"/>
                    <a:pt x="278" y="853"/>
                  </a:cubicBezTo>
                  <a:cubicBezTo>
                    <a:pt x="278" y="860"/>
                    <a:pt x="277" y="866"/>
                    <a:pt x="274" y="872"/>
                  </a:cubicBezTo>
                  <a:cubicBezTo>
                    <a:pt x="272" y="878"/>
                    <a:pt x="267" y="883"/>
                    <a:pt x="261" y="885"/>
                  </a:cubicBezTo>
                  <a:cubicBezTo>
                    <a:pt x="255" y="887"/>
                    <a:pt x="248" y="888"/>
                    <a:pt x="241" y="889"/>
                  </a:cubicBezTo>
                  <a:cubicBezTo>
                    <a:pt x="238" y="889"/>
                    <a:pt x="234" y="890"/>
                    <a:pt x="231" y="890"/>
                  </a:cubicBezTo>
                  <a:cubicBezTo>
                    <a:pt x="222" y="890"/>
                    <a:pt x="222" y="890"/>
                    <a:pt x="222" y="890"/>
                  </a:cubicBezTo>
                  <a:cubicBezTo>
                    <a:pt x="217" y="891"/>
                    <a:pt x="212" y="891"/>
                    <a:pt x="206" y="891"/>
                  </a:cubicBezTo>
                  <a:cubicBezTo>
                    <a:pt x="201" y="891"/>
                    <a:pt x="196" y="891"/>
                    <a:pt x="191" y="891"/>
                  </a:cubicBezTo>
                  <a:cubicBezTo>
                    <a:pt x="183" y="891"/>
                    <a:pt x="183" y="891"/>
                    <a:pt x="183" y="891"/>
                  </a:cubicBezTo>
                  <a:cubicBezTo>
                    <a:pt x="180" y="891"/>
                    <a:pt x="177" y="891"/>
                    <a:pt x="174" y="891"/>
                  </a:cubicBezTo>
                  <a:cubicBezTo>
                    <a:pt x="151" y="890"/>
                    <a:pt x="129" y="883"/>
                    <a:pt x="108" y="873"/>
                  </a:cubicBezTo>
                  <a:cubicBezTo>
                    <a:pt x="88" y="863"/>
                    <a:pt x="69" y="850"/>
                    <a:pt x="53" y="832"/>
                  </a:cubicBezTo>
                  <a:cubicBezTo>
                    <a:pt x="45" y="824"/>
                    <a:pt x="38" y="814"/>
                    <a:pt x="32" y="803"/>
                  </a:cubicBezTo>
                  <a:cubicBezTo>
                    <a:pt x="27" y="792"/>
                    <a:pt x="23" y="780"/>
                    <a:pt x="21" y="768"/>
                  </a:cubicBezTo>
                  <a:cubicBezTo>
                    <a:pt x="21" y="765"/>
                    <a:pt x="20" y="762"/>
                    <a:pt x="20" y="759"/>
                  </a:cubicBezTo>
                  <a:cubicBezTo>
                    <a:pt x="20" y="757"/>
                    <a:pt x="20" y="756"/>
                    <a:pt x="20" y="754"/>
                  </a:cubicBezTo>
                  <a:cubicBezTo>
                    <a:pt x="20" y="750"/>
                    <a:pt x="20" y="750"/>
                    <a:pt x="20" y="750"/>
                  </a:cubicBezTo>
                  <a:cubicBezTo>
                    <a:pt x="20" y="734"/>
                    <a:pt x="20" y="734"/>
                    <a:pt x="20" y="734"/>
                  </a:cubicBezTo>
                  <a:cubicBezTo>
                    <a:pt x="20" y="723"/>
                    <a:pt x="20" y="712"/>
                    <a:pt x="20" y="701"/>
                  </a:cubicBezTo>
                  <a:cubicBezTo>
                    <a:pt x="20" y="679"/>
                    <a:pt x="20" y="657"/>
                    <a:pt x="20" y="636"/>
                  </a:cubicBezTo>
                  <a:cubicBezTo>
                    <a:pt x="20" y="460"/>
                    <a:pt x="20" y="282"/>
                    <a:pt x="21" y="112"/>
                  </a:cubicBezTo>
                  <a:cubicBezTo>
                    <a:pt x="21" y="91"/>
                    <a:pt x="21" y="65"/>
                    <a:pt x="21" y="50"/>
                  </a:cubicBezTo>
                  <a:cubicBezTo>
                    <a:pt x="21" y="34"/>
                    <a:pt x="31" y="17"/>
                    <a:pt x="54" y="17"/>
                  </a:cubicBezTo>
                  <a:cubicBezTo>
                    <a:pt x="77" y="17"/>
                    <a:pt x="126" y="18"/>
                    <a:pt x="161" y="18"/>
                  </a:cubicBezTo>
                  <a:cubicBezTo>
                    <a:pt x="171" y="18"/>
                    <a:pt x="181" y="18"/>
                    <a:pt x="191" y="18"/>
                  </a:cubicBezTo>
                  <a:cubicBezTo>
                    <a:pt x="196" y="18"/>
                    <a:pt x="201" y="18"/>
                    <a:pt x="206" y="18"/>
                  </a:cubicBezTo>
                  <a:cubicBezTo>
                    <a:pt x="213" y="18"/>
                    <a:pt x="213" y="18"/>
                    <a:pt x="213" y="18"/>
                  </a:cubicBezTo>
                  <a:cubicBezTo>
                    <a:pt x="216" y="18"/>
                    <a:pt x="216" y="18"/>
                    <a:pt x="216" y="18"/>
                  </a:cubicBezTo>
                  <a:cubicBezTo>
                    <a:pt x="220" y="19"/>
                    <a:pt x="220" y="19"/>
                    <a:pt x="220" y="19"/>
                  </a:cubicBezTo>
                  <a:cubicBezTo>
                    <a:pt x="241" y="19"/>
                    <a:pt x="261" y="23"/>
                    <a:pt x="279" y="29"/>
                  </a:cubicBezTo>
                  <a:cubicBezTo>
                    <a:pt x="298" y="34"/>
                    <a:pt x="316" y="42"/>
                    <a:pt x="332" y="52"/>
                  </a:cubicBezTo>
                  <a:cubicBezTo>
                    <a:pt x="340" y="57"/>
                    <a:pt x="348" y="63"/>
                    <a:pt x="356" y="68"/>
                  </a:cubicBezTo>
                  <a:cubicBezTo>
                    <a:pt x="363" y="74"/>
                    <a:pt x="370" y="81"/>
                    <a:pt x="376" y="87"/>
                  </a:cubicBezTo>
                  <a:cubicBezTo>
                    <a:pt x="427" y="135"/>
                    <a:pt x="473" y="180"/>
                    <a:pt x="515" y="220"/>
                  </a:cubicBezTo>
                  <a:cubicBezTo>
                    <a:pt x="525" y="230"/>
                    <a:pt x="535" y="239"/>
                    <a:pt x="545" y="249"/>
                  </a:cubicBezTo>
                  <a:cubicBezTo>
                    <a:pt x="550" y="253"/>
                    <a:pt x="554" y="258"/>
                    <a:pt x="559" y="262"/>
                  </a:cubicBezTo>
                  <a:cubicBezTo>
                    <a:pt x="561" y="265"/>
                    <a:pt x="564" y="267"/>
                    <a:pt x="566" y="269"/>
                  </a:cubicBezTo>
                  <a:cubicBezTo>
                    <a:pt x="568" y="271"/>
                    <a:pt x="571" y="274"/>
                    <a:pt x="573" y="276"/>
                  </a:cubicBezTo>
                  <a:cubicBezTo>
                    <a:pt x="590" y="293"/>
                    <a:pt x="608" y="308"/>
                    <a:pt x="624" y="320"/>
                  </a:cubicBezTo>
                  <a:cubicBezTo>
                    <a:pt x="657" y="345"/>
                    <a:pt x="687" y="361"/>
                    <a:pt x="707" y="371"/>
                  </a:cubicBezTo>
                  <a:cubicBezTo>
                    <a:pt x="723" y="379"/>
                    <a:pt x="732" y="383"/>
                    <a:pt x="739" y="387"/>
                  </a:cubicBezTo>
                  <a:cubicBezTo>
                    <a:pt x="746" y="390"/>
                    <a:pt x="749" y="392"/>
                    <a:pt x="749" y="392"/>
                  </a:cubicBezTo>
                  <a:cubicBezTo>
                    <a:pt x="748" y="393"/>
                    <a:pt x="743" y="392"/>
                    <a:pt x="735" y="390"/>
                  </a:cubicBezTo>
                  <a:cubicBezTo>
                    <a:pt x="726" y="388"/>
                    <a:pt x="714" y="384"/>
                    <a:pt x="698" y="378"/>
                  </a:cubicBezTo>
                  <a:cubicBezTo>
                    <a:pt x="694" y="376"/>
                    <a:pt x="685" y="373"/>
                    <a:pt x="673" y="367"/>
                  </a:cubicBezTo>
                  <a:cubicBezTo>
                    <a:pt x="660" y="361"/>
                    <a:pt x="644" y="352"/>
                    <a:pt x="625" y="340"/>
                  </a:cubicBezTo>
                  <a:cubicBezTo>
                    <a:pt x="607" y="328"/>
                    <a:pt x="585" y="312"/>
                    <a:pt x="564" y="292"/>
                  </a:cubicBezTo>
                  <a:cubicBezTo>
                    <a:pt x="561" y="290"/>
                    <a:pt x="558" y="287"/>
                    <a:pt x="556" y="284"/>
                  </a:cubicBezTo>
                  <a:cubicBezTo>
                    <a:pt x="554" y="283"/>
                    <a:pt x="554" y="283"/>
                    <a:pt x="554" y="283"/>
                  </a:cubicBezTo>
                  <a:cubicBezTo>
                    <a:pt x="552" y="281"/>
                    <a:pt x="552" y="281"/>
                    <a:pt x="552" y="281"/>
                  </a:cubicBezTo>
                  <a:cubicBezTo>
                    <a:pt x="551" y="280"/>
                    <a:pt x="549" y="278"/>
                    <a:pt x="548" y="277"/>
                  </a:cubicBezTo>
                  <a:cubicBezTo>
                    <a:pt x="542" y="272"/>
                    <a:pt x="536" y="267"/>
                    <a:pt x="531" y="261"/>
                  </a:cubicBezTo>
                  <a:cubicBezTo>
                    <a:pt x="519" y="251"/>
                    <a:pt x="507" y="239"/>
                    <a:pt x="494" y="228"/>
                  </a:cubicBezTo>
                  <a:cubicBezTo>
                    <a:pt x="465" y="200"/>
                    <a:pt x="435" y="172"/>
                    <a:pt x="404" y="144"/>
                  </a:cubicBezTo>
                  <a:cubicBezTo>
                    <a:pt x="389" y="130"/>
                    <a:pt x="374" y="115"/>
                    <a:pt x="358" y="101"/>
                  </a:cubicBezTo>
                  <a:cubicBezTo>
                    <a:pt x="344" y="87"/>
                    <a:pt x="327" y="75"/>
                    <a:pt x="309" y="66"/>
                  </a:cubicBezTo>
                  <a:cubicBezTo>
                    <a:pt x="291" y="57"/>
                    <a:pt x="272" y="50"/>
                    <a:pt x="252" y="46"/>
                  </a:cubicBezTo>
                  <a:cubicBezTo>
                    <a:pt x="242" y="45"/>
                    <a:pt x="232" y="43"/>
                    <a:pt x="222" y="43"/>
                  </a:cubicBezTo>
                  <a:cubicBezTo>
                    <a:pt x="217" y="43"/>
                    <a:pt x="211" y="43"/>
                    <a:pt x="206" y="43"/>
                  </a:cubicBezTo>
                  <a:cubicBezTo>
                    <a:pt x="190" y="43"/>
                    <a:pt x="190" y="43"/>
                    <a:pt x="190" y="43"/>
                  </a:cubicBezTo>
                  <a:cubicBezTo>
                    <a:pt x="148" y="43"/>
                    <a:pt x="73" y="43"/>
                    <a:pt x="64" y="43"/>
                  </a:cubicBezTo>
                  <a:cubicBezTo>
                    <a:pt x="56" y="43"/>
                    <a:pt x="47" y="43"/>
                    <a:pt x="47" y="60"/>
                  </a:cubicBezTo>
                  <a:cubicBezTo>
                    <a:pt x="47" y="78"/>
                    <a:pt x="48" y="278"/>
                    <a:pt x="48" y="386"/>
                  </a:cubicBezTo>
                  <a:cubicBezTo>
                    <a:pt x="49" y="496"/>
                    <a:pt x="49" y="605"/>
                    <a:pt x="50" y="710"/>
                  </a:cubicBezTo>
                  <a:cubicBezTo>
                    <a:pt x="50" y="725"/>
                    <a:pt x="50" y="740"/>
                    <a:pt x="50" y="754"/>
                  </a:cubicBezTo>
                  <a:cubicBezTo>
                    <a:pt x="50" y="767"/>
                    <a:pt x="54" y="779"/>
                    <a:pt x="60" y="790"/>
                  </a:cubicBezTo>
                  <a:cubicBezTo>
                    <a:pt x="72" y="813"/>
                    <a:pt x="94" y="832"/>
                    <a:pt x="118" y="844"/>
                  </a:cubicBezTo>
                  <a:cubicBezTo>
                    <a:pt x="130" y="851"/>
                    <a:pt x="144" y="855"/>
                    <a:pt x="157" y="858"/>
                  </a:cubicBezTo>
                  <a:cubicBezTo>
                    <a:pt x="164" y="860"/>
                    <a:pt x="170" y="860"/>
                    <a:pt x="177" y="861"/>
                  </a:cubicBezTo>
                  <a:cubicBezTo>
                    <a:pt x="179" y="861"/>
                    <a:pt x="180" y="861"/>
                    <a:pt x="182" y="861"/>
                  </a:cubicBezTo>
                  <a:cubicBezTo>
                    <a:pt x="188" y="861"/>
                    <a:pt x="188" y="861"/>
                    <a:pt x="188" y="861"/>
                  </a:cubicBezTo>
                  <a:cubicBezTo>
                    <a:pt x="199" y="861"/>
                    <a:pt x="199" y="861"/>
                    <a:pt x="199" y="861"/>
                  </a:cubicBezTo>
                  <a:cubicBezTo>
                    <a:pt x="207" y="861"/>
                    <a:pt x="214" y="861"/>
                    <a:pt x="221" y="860"/>
                  </a:cubicBezTo>
                  <a:cubicBezTo>
                    <a:pt x="227" y="860"/>
                    <a:pt x="227" y="860"/>
                    <a:pt x="227" y="860"/>
                  </a:cubicBezTo>
                  <a:cubicBezTo>
                    <a:pt x="230" y="860"/>
                    <a:pt x="230" y="860"/>
                    <a:pt x="230" y="860"/>
                  </a:cubicBezTo>
                  <a:cubicBezTo>
                    <a:pt x="232" y="860"/>
                    <a:pt x="235" y="860"/>
                    <a:pt x="237" y="859"/>
                  </a:cubicBezTo>
                  <a:cubicBezTo>
                    <a:pt x="239" y="859"/>
                    <a:pt x="241" y="859"/>
                    <a:pt x="243" y="858"/>
                  </a:cubicBezTo>
                  <a:cubicBezTo>
                    <a:pt x="245" y="857"/>
                    <a:pt x="247" y="855"/>
                    <a:pt x="247" y="853"/>
                  </a:cubicBezTo>
                  <a:cubicBezTo>
                    <a:pt x="248" y="851"/>
                    <a:pt x="248" y="849"/>
                    <a:pt x="248" y="847"/>
                  </a:cubicBezTo>
                  <a:cubicBezTo>
                    <a:pt x="248" y="840"/>
                    <a:pt x="248" y="840"/>
                    <a:pt x="248" y="840"/>
                  </a:cubicBezTo>
                  <a:cubicBezTo>
                    <a:pt x="249" y="780"/>
                    <a:pt x="249" y="721"/>
                    <a:pt x="249" y="664"/>
                  </a:cubicBezTo>
                  <a:cubicBezTo>
                    <a:pt x="250" y="649"/>
                    <a:pt x="250" y="635"/>
                    <a:pt x="250" y="621"/>
                  </a:cubicBezTo>
                  <a:cubicBezTo>
                    <a:pt x="250" y="617"/>
                    <a:pt x="250" y="614"/>
                    <a:pt x="250" y="610"/>
                  </a:cubicBezTo>
                  <a:cubicBezTo>
                    <a:pt x="250" y="605"/>
                    <a:pt x="250" y="605"/>
                    <a:pt x="250" y="605"/>
                  </a:cubicBezTo>
                  <a:cubicBezTo>
                    <a:pt x="250" y="603"/>
                    <a:pt x="250" y="601"/>
                    <a:pt x="250" y="599"/>
                  </a:cubicBezTo>
                  <a:cubicBezTo>
                    <a:pt x="250" y="592"/>
                    <a:pt x="251" y="584"/>
                    <a:pt x="253" y="576"/>
                  </a:cubicBezTo>
                  <a:cubicBezTo>
                    <a:pt x="260" y="546"/>
                    <a:pt x="277" y="519"/>
                    <a:pt x="300" y="501"/>
                  </a:cubicBezTo>
                  <a:cubicBezTo>
                    <a:pt x="311" y="492"/>
                    <a:pt x="325" y="484"/>
                    <a:pt x="339" y="480"/>
                  </a:cubicBezTo>
                  <a:cubicBezTo>
                    <a:pt x="347" y="477"/>
                    <a:pt x="354" y="475"/>
                    <a:pt x="362" y="474"/>
                  </a:cubicBezTo>
                  <a:cubicBezTo>
                    <a:pt x="370" y="473"/>
                    <a:pt x="378" y="473"/>
                    <a:pt x="385" y="473"/>
                  </a:cubicBezTo>
                  <a:cubicBezTo>
                    <a:pt x="415" y="473"/>
                    <a:pt x="445" y="481"/>
                    <a:pt x="471" y="492"/>
                  </a:cubicBezTo>
                  <a:cubicBezTo>
                    <a:pt x="498" y="503"/>
                    <a:pt x="522" y="519"/>
                    <a:pt x="544" y="535"/>
                  </a:cubicBezTo>
                  <a:cubicBezTo>
                    <a:pt x="567" y="552"/>
                    <a:pt x="588" y="571"/>
                    <a:pt x="608" y="590"/>
                  </a:cubicBezTo>
                  <a:cubicBezTo>
                    <a:pt x="625" y="606"/>
                    <a:pt x="641" y="622"/>
                    <a:pt x="657" y="637"/>
                  </a:cubicBezTo>
                  <a:cubicBezTo>
                    <a:pt x="664" y="644"/>
                    <a:pt x="672" y="650"/>
                    <a:pt x="679" y="657"/>
                  </a:cubicBezTo>
                  <a:cubicBezTo>
                    <a:pt x="686" y="663"/>
                    <a:pt x="692" y="669"/>
                    <a:pt x="698" y="675"/>
                  </a:cubicBezTo>
                  <a:cubicBezTo>
                    <a:pt x="716" y="692"/>
                    <a:pt x="729" y="705"/>
                    <a:pt x="742" y="718"/>
                  </a:cubicBezTo>
                  <a:cubicBezTo>
                    <a:pt x="755" y="732"/>
                    <a:pt x="744" y="726"/>
                    <a:pt x="711" y="700"/>
                  </a:cubicBezTo>
                  <a:close/>
                  <a:moveTo>
                    <a:pt x="1819" y="841"/>
                  </a:moveTo>
                  <a:cubicBezTo>
                    <a:pt x="1818" y="816"/>
                    <a:pt x="1817" y="792"/>
                    <a:pt x="1816" y="765"/>
                  </a:cubicBezTo>
                  <a:cubicBezTo>
                    <a:pt x="1813" y="676"/>
                    <a:pt x="1810" y="518"/>
                    <a:pt x="1807" y="449"/>
                  </a:cubicBezTo>
                  <a:cubicBezTo>
                    <a:pt x="1805" y="411"/>
                    <a:pt x="1804" y="390"/>
                    <a:pt x="1802" y="426"/>
                  </a:cubicBezTo>
                  <a:cubicBezTo>
                    <a:pt x="1802" y="439"/>
                    <a:pt x="1801" y="448"/>
                    <a:pt x="1801" y="462"/>
                  </a:cubicBezTo>
                  <a:cubicBezTo>
                    <a:pt x="1798" y="501"/>
                    <a:pt x="1797" y="602"/>
                    <a:pt x="1795" y="654"/>
                  </a:cubicBezTo>
                  <a:cubicBezTo>
                    <a:pt x="1795" y="657"/>
                    <a:pt x="1795" y="659"/>
                    <a:pt x="1795" y="662"/>
                  </a:cubicBezTo>
                  <a:cubicBezTo>
                    <a:pt x="1794" y="686"/>
                    <a:pt x="1793" y="710"/>
                    <a:pt x="1792" y="737"/>
                  </a:cubicBezTo>
                  <a:cubicBezTo>
                    <a:pt x="1792" y="742"/>
                    <a:pt x="1792" y="747"/>
                    <a:pt x="1792" y="752"/>
                  </a:cubicBezTo>
                  <a:cubicBezTo>
                    <a:pt x="1792" y="769"/>
                    <a:pt x="1791" y="787"/>
                    <a:pt x="1791" y="805"/>
                  </a:cubicBezTo>
                  <a:cubicBezTo>
                    <a:pt x="1791" y="814"/>
                    <a:pt x="1790" y="824"/>
                    <a:pt x="1790" y="833"/>
                  </a:cubicBezTo>
                  <a:cubicBezTo>
                    <a:pt x="1790" y="835"/>
                    <a:pt x="1790" y="837"/>
                    <a:pt x="1790" y="839"/>
                  </a:cubicBezTo>
                  <a:cubicBezTo>
                    <a:pt x="1790" y="841"/>
                    <a:pt x="1790" y="842"/>
                    <a:pt x="1790" y="844"/>
                  </a:cubicBezTo>
                  <a:cubicBezTo>
                    <a:pt x="1790" y="847"/>
                    <a:pt x="1790" y="850"/>
                    <a:pt x="1789" y="853"/>
                  </a:cubicBezTo>
                  <a:cubicBezTo>
                    <a:pt x="1788" y="855"/>
                    <a:pt x="1787" y="857"/>
                    <a:pt x="1785" y="859"/>
                  </a:cubicBezTo>
                  <a:cubicBezTo>
                    <a:pt x="1783" y="860"/>
                    <a:pt x="1780" y="860"/>
                    <a:pt x="1778" y="860"/>
                  </a:cubicBezTo>
                  <a:cubicBezTo>
                    <a:pt x="1776" y="860"/>
                    <a:pt x="1773" y="861"/>
                    <a:pt x="1771" y="861"/>
                  </a:cubicBezTo>
                  <a:cubicBezTo>
                    <a:pt x="1768" y="861"/>
                    <a:pt x="1765" y="861"/>
                    <a:pt x="1762" y="861"/>
                  </a:cubicBezTo>
                  <a:cubicBezTo>
                    <a:pt x="1754" y="861"/>
                    <a:pt x="1746" y="861"/>
                    <a:pt x="1737" y="861"/>
                  </a:cubicBezTo>
                  <a:cubicBezTo>
                    <a:pt x="1733" y="861"/>
                    <a:pt x="1729" y="861"/>
                    <a:pt x="1725" y="861"/>
                  </a:cubicBezTo>
                  <a:cubicBezTo>
                    <a:pt x="1721" y="861"/>
                    <a:pt x="1717" y="860"/>
                    <a:pt x="1713" y="860"/>
                  </a:cubicBezTo>
                  <a:cubicBezTo>
                    <a:pt x="1698" y="858"/>
                    <a:pt x="1682" y="853"/>
                    <a:pt x="1666" y="846"/>
                  </a:cubicBezTo>
                  <a:cubicBezTo>
                    <a:pt x="1651" y="838"/>
                    <a:pt x="1636" y="828"/>
                    <a:pt x="1623" y="815"/>
                  </a:cubicBezTo>
                  <a:cubicBezTo>
                    <a:pt x="1610" y="802"/>
                    <a:pt x="1600" y="786"/>
                    <a:pt x="1596" y="769"/>
                  </a:cubicBezTo>
                  <a:cubicBezTo>
                    <a:pt x="1595" y="765"/>
                    <a:pt x="1595" y="760"/>
                    <a:pt x="1595" y="756"/>
                  </a:cubicBezTo>
                  <a:cubicBezTo>
                    <a:pt x="1595" y="755"/>
                    <a:pt x="1595" y="754"/>
                    <a:pt x="1595" y="753"/>
                  </a:cubicBezTo>
                  <a:cubicBezTo>
                    <a:pt x="1595" y="748"/>
                    <a:pt x="1595" y="748"/>
                    <a:pt x="1595" y="748"/>
                  </a:cubicBezTo>
                  <a:cubicBezTo>
                    <a:pt x="1595" y="745"/>
                    <a:pt x="1595" y="742"/>
                    <a:pt x="1595" y="739"/>
                  </a:cubicBezTo>
                  <a:cubicBezTo>
                    <a:pt x="1595" y="728"/>
                    <a:pt x="1595" y="716"/>
                    <a:pt x="1596" y="703"/>
                  </a:cubicBezTo>
                  <a:cubicBezTo>
                    <a:pt x="1596" y="679"/>
                    <a:pt x="1596" y="654"/>
                    <a:pt x="1597" y="628"/>
                  </a:cubicBezTo>
                  <a:cubicBezTo>
                    <a:pt x="1597" y="622"/>
                    <a:pt x="1597" y="615"/>
                    <a:pt x="1597" y="609"/>
                  </a:cubicBezTo>
                  <a:cubicBezTo>
                    <a:pt x="1597" y="604"/>
                    <a:pt x="1597" y="604"/>
                    <a:pt x="1597" y="604"/>
                  </a:cubicBezTo>
                  <a:cubicBezTo>
                    <a:pt x="1597" y="602"/>
                    <a:pt x="1597" y="600"/>
                    <a:pt x="1597" y="598"/>
                  </a:cubicBezTo>
                  <a:cubicBezTo>
                    <a:pt x="1597" y="594"/>
                    <a:pt x="1597" y="590"/>
                    <a:pt x="1596" y="586"/>
                  </a:cubicBezTo>
                  <a:cubicBezTo>
                    <a:pt x="1594" y="570"/>
                    <a:pt x="1590" y="555"/>
                    <a:pt x="1583" y="540"/>
                  </a:cubicBezTo>
                  <a:cubicBezTo>
                    <a:pt x="1572" y="518"/>
                    <a:pt x="1554" y="498"/>
                    <a:pt x="1532" y="483"/>
                  </a:cubicBezTo>
                  <a:cubicBezTo>
                    <a:pt x="1521" y="476"/>
                    <a:pt x="1509" y="470"/>
                    <a:pt x="1496" y="466"/>
                  </a:cubicBezTo>
                  <a:cubicBezTo>
                    <a:pt x="1483" y="462"/>
                    <a:pt x="1469" y="460"/>
                    <a:pt x="1456" y="460"/>
                  </a:cubicBezTo>
                  <a:cubicBezTo>
                    <a:pt x="1430" y="460"/>
                    <a:pt x="1404" y="464"/>
                    <a:pt x="1379" y="472"/>
                  </a:cubicBezTo>
                  <a:cubicBezTo>
                    <a:pt x="1353" y="480"/>
                    <a:pt x="1330" y="493"/>
                    <a:pt x="1307" y="507"/>
                  </a:cubicBezTo>
                  <a:cubicBezTo>
                    <a:pt x="1262" y="536"/>
                    <a:pt x="1223" y="573"/>
                    <a:pt x="1184" y="609"/>
                  </a:cubicBezTo>
                  <a:cubicBezTo>
                    <a:pt x="1174" y="618"/>
                    <a:pt x="1164" y="627"/>
                    <a:pt x="1154" y="636"/>
                  </a:cubicBezTo>
                  <a:cubicBezTo>
                    <a:pt x="1144" y="645"/>
                    <a:pt x="1133" y="654"/>
                    <a:pt x="1123" y="664"/>
                  </a:cubicBezTo>
                  <a:cubicBezTo>
                    <a:pt x="1102" y="683"/>
                    <a:pt x="1081" y="702"/>
                    <a:pt x="1059" y="720"/>
                  </a:cubicBezTo>
                  <a:cubicBezTo>
                    <a:pt x="1042" y="734"/>
                    <a:pt x="1025" y="748"/>
                    <a:pt x="1007" y="759"/>
                  </a:cubicBezTo>
                  <a:cubicBezTo>
                    <a:pt x="989" y="771"/>
                    <a:pt x="970" y="780"/>
                    <a:pt x="952" y="785"/>
                  </a:cubicBezTo>
                  <a:cubicBezTo>
                    <a:pt x="933" y="790"/>
                    <a:pt x="914" y="791"/>
                    <a:pt x="896" y="787"/>
                  </a:cubicBezTo>
                  <a:cubicBezTo>
                    <a:pt x="877" y="783"/>
                    <a:pt x="859" y="775"/>
                    <a:pt x="841" y="764"/>
                  </a:cubicBezTo>
                  <a:cubicBezTo>
                    <a:pt x="822" y="753"/>
                    <a:pt x="805" y="740"/>
                    <a:pt x="787" y="726"/>
                  </a:cubicBezTo>
                  <a:cubicBezTo>
                    <a:pt x="770" y="711"/>
                    <a:pt x="753" y="696"/>
                    <a:pt x="735" y="680"/>
                  </a:cubicBezTo>
                  <a:cubicBezTo>
                    <a:pt x="718" y="664"/>
                    <a:pt x="701" y="648"/>
                    <a:pt x="683" y="632"/>
                  </a:cubicBezTo>
                  <a:cubicBezTo>
                    <a:pt x="666" y="617"/>
                    <a:pt x="649" y="601"/>
                    <a:pt x="632" y="584"/>
                  </a:cubicBezTo>
                  <a:cubicBezTo>
                    <a:pt x="597" y="552"/>
                    <a:pt x="560" y="518"/>
                    <a:pt x="515" y="492"/>
                  </a:cubicBezTo>
                  <a:cubicBezTo>
                    <a:pt x="493" y="480"/>
                    <a:pt x="469" y="469"/>
                    <a:pt x="443" y="462"/>
                  </a:cubicBezTo>
                  <a:cubicBezTo>
                    <a:pt x="430" y="458"/>
                    <a:pt x="416" y="456"/>
                    <a:pt x="403" y="455"/>
                  </a:cubicBezTo>
                  <a:cubicBezTo>
                    <a:pt x="396" y="454"/>
                    <a:pt x="389" y="454"/>
                    <a:pt x="382" y="454"/>
                  </a:cubicBezTo>
                  <a:cubicBezTo>
                    <a:pt x="375" y="454"/>
                    <a:pt x="368" y="454"/>
                    <a:pt x="360" y="455"/>
                  </a:cubicBezTo>
                  <a:cubicBezTo>
                    <a:pt x="330" y="460"/>
                    <a:pt x="302" y="473"/>
                    <a:pt x="281" y="494"/>
                  </a:cubicBezTo>
                  <a:cubicBezTo>
                    <a:pt x="259" y="514"/>
                    <a:pt x="243" y="541"/>
                    <a:pt x="236" y="570"/>
                  </a:cubicBezTo>
                  <a:cubicBezTo>
                    <a:pt x="235" y="577"/>
                    <a:pt x="233" y="584"/>
                    <a:pt x="233" y="592"/>
                  </a:cubicBezTo>
                  <a:cubicBezTo>
                    <a:pt x="232" y="595"/>
                    <a:pt x="232" y="599"/>
                    <a:pt x="232" y="603"/>
                  </a:cubicBezTo>
                  <a:cubicBezTo>
                    <a:pt x="232" y="612"/>
                    <a:pt x="232" y="612"/>
                    <a:pt x="232" y="612"/>
                  </a:cubicBezTo>
                  <a:cubicBezTo>
                    <a:pt x="232" y="623"/>
                    <a:pt x="232" y="635"/>
                    <a:pt x="232" y="647"/>
                  </a:cubicBezTo>
                  <a:cubicBezTo>
                    <a:pt x="232" y="670"/>
                    <a:pt x="232" y="693"/>
                    <a:pt x="232" y="716"/>
                  </a:cubicBezTo>
                  <a:cubicBezTo>
                    <a:pt x="232" y="788"/>
                    <a:pt x="232" y="788"/>
                    <a:pt x="232" y="788"/>
                  </a:cubicBezTo>
                  <a:cubicBezTo>
                    <a:pt x="232" y="824"/>
                    <a:pt x="232" y="824"/>
                    <a:pt x="232" y="824"/>
                  </a:cubicBezTo>
                  <a:cubicBezTo>
                    <a:pt x="232" y="838"/>
                    <a:pt x="232" y="838"/>
                    <a:pt x="232" y="838"/>
                  </a:cubicBezTo>
                  <a:cubicBezTo>
                    <a:pt x="232" y="839"/>
                    <a:pt x="232" y="840"/>
                    <a:pt x="232" y="841"/>
                  </a:cubicBezTo>
                  <a:cubicBezTo>
                    <a:pt x="232" y="842"/>
                    <a:pt x="231" y="843"/>
                    <a:pt x="230" y="843"/>
                  </a:cubicBezTo>
                  <a:cubicBezTo>
                    <a:pt x="229" y="844"/>
                    <a:pt x="228" y="844"/>
                    <a:pt x="227" y="844"/>
                  </a:cubicBezTo>
                  <a:cubicBezTo>
                    <a:pt x="225" y="844"/>
                    <a:pt x="225" y="844"/>
                    <a:pt x="225" y="844"/>
                  </a:cubicBezTo>
                  <a:cubicBezTo>
                    <a:pt x="217" y="844"/>
                    <a:pt x="217" y="844"/>
                    <a:pt x="217" y="844"/>
                  </a:cubicBezTo>
                  <a:cubicBezTo>
                    <a:pt x="211" y="844"/>
                    <a:pt x="206" y="844"/>
                    <a:pt x="200" y="844"/>
                  </a:cubicBezTo>
                  <a:cubicBezTo>
                    <a:pt x="182" y="844"/>
                    <a:pt x="182" y="844"/>
                    <a:pt x="182" y="844"/>
                  </a:cubicBezTo>
                  <a:cubicBezTo>
                    <a:pt x="178" y="844"/>
                    <a:pt x="173" y="844"/>
                    <a:pt x="169" y="843"/>
                  </a:cubicBezTo>
                  <a:cubicBezTo>
                    <a:pt x="159" y="842"/>
                    <a:pt x="150" y="840"/>
                    <a:pt x="141" y="836"/>
                  </a:cubicBezTo>
                  <a:cubicBezTo>
                    <a:pt x="123" y="830"/>
                    <a:pt x="106" y="819"/>
                    <a:pt x="93" y="806"/>
                  </a:cubicBezTo>
                  <a:cubicBezTo>
                    <a:pt x="79" y="792"/>
                    <a:pt x="70" y="777"/>
                    <a:pt x="68" y="762"/>
                  </a:cubicBezTo>
                  <a:cubicBezTo>
                    <a:pt x="68" y="760"/>
                    <a:pt x="68" y="758"/>
                    <a:pt x="68" y="756"/>
                  </a:cubicBezTo>
                  <a:cubicBezTo>
                    <a:pt x="68" y="755"/>
                    <a:pt x="68" y="754"/>
                    <a:pt x="68" y="754"/>
                  </a:cubicBezTo>
                  <a:cubicBezTo>
                    <a:pt x="67" y="749"/>
                    <a:pt x="67" y="749"/>
                    <a:pt x="67" y="749"/>
                  </a:cubicBezTo>
                  <a:cubicBezTo>
                    <a:pt x="68" y="731"/>
                    <a:pt x="68" y="731"/>
                    <a:pt x="68" y="731"/>
                  </a:cubicBezTo>
                  <a:cubicBezTo>
                    <a:pt x="68" y="696"/>
                    <a:pt x="68" y="696"/>
                    <a:pt x="68" y="696"/>
                  </a:cubicBezTo>
                  <a:cubicBezTo>
                    <a:pt x="68" y="672"/>
                    <a:pt x="68" y="648"/>
                    <a:pt x="68" y="624"/>
                  </a:cubicBezTo>
                  <a:cubicBezTo>
                    <a:pt x="68" y="438"/>
                    <a:pt x="68" y="73"/>
                    <a:pt x="68" y="69"/>
                  </a:cubicBezTo>
                  <a:cubicBezTo>
                    <a:pt x="68" y="65"/>
                    <a:pt x="70" y="64"/>
                    <a:pt x="74" y="64"/>
                  </a:cubicBezTo>
                  <a:cubicBezTo>
                    <a:pt x="77" y="64"/>
                    <a:pt x="122" y="64"/>
                    <a:pt x="147" y="64"/>
                  </a:cubicBezTo>
                  <a:cubicBezTo>
                    <a:pt x="161" y="64"/>
                    <a:pt x="176" y="64"/>
                    <a:pt x="191" y="64"/>
                  </a:cubicBezTo>
                  <a:cubicBezTo>
                    <a:pt x="213" y="64"/>
                    <a:pt x="213" y="64"/>
                    <a:pt x="213" y="64"/>
                  </a:cubicBezTo>
                  <a:cubicBezTo>
                    <a:pt x="217" y="64"/>
                    <a:pt x="219" y="64"/>
                    <a:pt x="222" y="64"/>
                  </a:cubicBezTo>
                  <a:cubicBezTo>
                    <a:pt x="225" y="65"/>
                    <a:pt x="228" y="65"/>
                    <a:pt x="231" y="65"/>
                  </a:cubicBezTo>
                  <a:cubicBezTo>
                    <a:pt x="256" y="68"/>
                    <a:pt x="280" y="75"/>
                    <a:pt x="302" y="87"/>
                  </a:cubicBezTo>
                  <a:cubicBezTo>
                    <a:pt x="313" y="92"/>
                    <a:pt x="323" y="99"/>
                    <a:pt x="332" y="107"/>
                  </a:cubicBezTo>
                  <a:cubicBezTo>
                    <a:pt x="335" y="109"/>
                    <a:pt x="337" y="111"/>
                    <a:pt x="339" y="113"/>
                  </a:cubicBezTo>
                  <a:cubicBezTo>
                    <a:pt x="347" y="120"/>
                    <a:pt x="347" y="120"/>
                    <a:pt x="347" y="120"/>
                  </a:cubicBezTo>
                  <a:cubicBezTo>
                    <a:pt x="363" y="135"/>
                    <a:pt x="363" y="135"/>
                    <a:pt x="363" y="135"/>
                  </a:cubicBezTo>
                  <a:cubicBezTo>
                    <a:pt x="421" y="190"/>
                    <a:pt x="480" y="245"/>
                    <a:pt x="538" y="298"/>
                  </a:cubicBezTo>
                  <a:cubicBezTo>
                    <a:pt x="539" y="298"/>
                    <a:pt x="539" y="298"/>
                    <a:pt x="539" y="298"/>
                  </a:cubicBezTo>
                  <a:cubicBezTo>
                    <a:pt x="540" y="300"/>
                    <a:pt x="540" y="300"/>
                    <a:pt x="540" y="300"/>
                  </a:cubicBezTo>
                  <a:cubicBezTo>
                    <a:pt x="543" y="303"/>
                    <a:pt x="543" y="303"/>
                    <a:pt x="543" y="303"/>
                  </a:cubicBezTo>
                  <a:cubicBezTo>
                    <a:pt x="548" y="308"/>
                    <a:pt x="548" y="308"/>
                    <a:pt x="548" y="308"/>
                  </a:cubicBezTo>
                  <a:cubicBezTo>
                    <a:pt x="552" y="312"/>
                    <a:pt x="556" y="315"/>
                    <a:pt x="560" y="318"/>
                  </a:cubicBezTo>
                  <a:cubicBezTo>
                    <a:pt x="568" y="325"/>
                    <a:pt x="576" y="332"/>
                    <a:pt x="584" y="338"/>
                  </a:cubicBezTo>
                  <a:cubicBezTo>
                    <a:pt x="600" y="351"/>
                    <a:pt x="617" y="362"/>
                    <a:pt x="635" y="373"/>
                  </a:cubicBezTo>
                  <a:cubicBezTo>
                    <a:pt x="669" y="393"/>
                    <a:pt x="706" y="409"/>
                    <a:pt x="742" y="421"/>
                  </a:cubicBezTo>
                  <a:cubicBezTo>
                    <a:pt x="778" y="433"/>
                    <a:pt x="815" y="440"/>
                    <a:pt x="850" y="444"/>
                  </a:cubicBezTo>
                  <a:cubicBezTo>
                    <a:pt x="885" y="447"/>
                    <a:pt x="918" y="448"/>
                    <a:pt x="950" y="446"/>
                  </a:cubicBezTo>
                  <a:cubicBezTo>
                    <a:pt x="1014" y="441"/>
                    <a:pt x="1069" y="427"/>
                    <a:pt x="1113" y="409"/>
                  </a:cubicBezTo>
                  <a:cubicBezTo>
                    <a:pt x="1153" y="393"/>
                    <a:pt x="1190" y="373"/>
                    <a:pt x="1221" y="350"/>
                  </a:cubicBezTo>
                  <a:cubicBezTo>
                    <a:pt x="1237" y="339"/>
                    <a:pt x="1252" y="327"/>
                    <a:pt x="1266" y="314"/>
                  </a:cubicBezTo>
                  <a:cubicBezTo>
                    <a:pt x="1273" y="308"/>
                    <a:pt x="1280" y="302"/>
                    <a:pt x="1286" y="295"/>
                  </a:cubicBezTo>
                  <a:cubicBezTo>
                    <a:pt x="1293" y="289"/>
                    <a:pt x="1299" y="283"/>
                    <a:pt x="1305" y="277"/>
                  </a:cubicBezTo>
                  <a:cubicBezTo>
                    <a:pt x="1389" y="194"/>
                    <a:pt x="1455" y="129"/>
                    <a:pt x="1485" y="97"/>
                  </a:cubicBezTo>
                  <a:cubicBezTo>
                    <a:pt x="1500" y="82"/>
                    <a:pt x="1512" y="69"/>
                    <a:pt x="1523" y="58"/>
                  </a:cubicBezTo>
                  <a:cubicBezTo>
                    <a:pt x="1524" y="56"/>
                    <a:pt x="1525" y="55"/>
                    <a:pt x="1526" y="54"/>
                  </a:cubicBezTo>
                  <a:cubicBezTo>
                    <a:pt x="1527" y="53"/>
                    <a:pt x="1528" y="52"/>
                    <a:pt x="1529" y="50"/>
                  </a:cubicBezTo>
                  <a:cubicBezTo>
                    <a:pt x="1530" y="50"/>
                    <a:pt x="1530" y="49"/>
                    <a:pt x="1531" y="49"/>
                  </a:cubicBezTo>
                  <a:cubicBezTo>
                    <a:pt x="1531" y="48"/>
                    <a:pt x="1532" y="48"/>
                    <a:pt x="1532" y="48"/>
                  </a:cubicBezTo>
                  <a:cubicBezTo>
                    <a:pt x="1533" y="46"/>
                    <a:pt x="1546" y="39"/>
                    <a:pt x="1548" y="38"/>
                  </a:cubicBezTo>
                  <a:cubicBezTo>
                    <a:pt x="1548" y="37"/>
                    <a:pt x="1562" y="31"/>
                    <a:pt x="1564" y="30"/>
                  </a:cubicBezTo>
                  <a:cubicBezTo>
                    <a:pt x="1570" y="27"/>
                    <a:pt x="1557" y="23"/>
                    <a:pt x="1548" y="23"/>
                  </a:cubicBezTo>
                  <a:cubicBezTo>
                    <a:pt x="1538" y="23"/>
                    <a:pt x="1527" y="27"/>
                    <a:pt x="1524" y="29"/>
                  </a:cubicBezTo>
                  <a:cubicBezTo>
                    <a:pt x="1517" y="33"/>
                    <a:pt x="1509" y="42"/>
                    <a:pt x="1503" y="46"/>
                  </a:cubicBezTo>
                  <a:cubicBezTo>
                    <a:pt x="1495" y="53"/>
                    <a:pt x="1485" y="61"/>
                    <a:pt x="1474" y="70"/>
                  </a:cubicBezTo>
                  <a:cubicBezTo>
                    <a:pt x="1445" y="94"/>
                    <a:pt x="1362" y="170"/>
                    <a:pt x="1256" y="268"/>
                  </a:cubicBezTo>
                  <a:cubicBezTo>
                    <a:pt x="1252" y="271"/>
                    <a:pt x="1249" y="274"/>
                    <a:pt x="1246" y="277"/>
                  </a:cubicBezTo>
                  <a:cubicBezTo>
                    <a:pt x="1243" y="280"/>
                    <a:pt x="1239" y="283"/>
                    <a:pt x="1236" y="285"/>
                  </a:cubicBezTo>
                  <a:cubicBezTo>
                    <a:pt x="1229" y="291"/>
                    <a:pt x="1222" y="297"/>
                    <a:pt x="1215" y="302"/>
                  </a:cubicBezTo>
                  <a:cubicBezTo>
                    <a:pt x="1201" y="313"/>
                    <a:pt x="1185" y="323"/>
                    <a:pt x="1169" y="332"/>
                  </a:cubicBezTo>
                  <a:cubicBezTo>
                    <a:pt x="1136" y="351"/>
                    <a:pt x="1100" y="366"/>
                    <a:pt x="1062" y="377"/>
                  </a:cubicBezTo>
                  <a:cubicBezTo>
                    <a:pt x="987" y="398"/>
                    <a:pt x="904" y="402"/>
                    <a:pt x="827" y="387"/>
                  </a:cubicBezTo>
                  <a:cubicBezTo>
                    <a:pt x="758" y="374"/>
                    <a:pt x="692" y="347"/>
                    <a:pt x="636" y="306"/>
                  </a:cubicBezTo>
                  <a:cubicBezTo>
                    <a:pt x="622" y="296"/>
                    <a:pt x="608" y="285"/>
                    <a:pt x="596" y="273"/>
                  </a:cubicBezTo>
                  <a:cubicBezTo>
                    <a:pt x="593" y="270"/>
                    <a:pt x="589" y="267"/>
                    <a:pt x="586" y="264"/>
                  </a:cubicBezTo>
                  <a:cubicBezTo>
                    <a:pt x="582" y="259"/>
                    <a:pt x="582" y="259"/>
                    <a:pt x="582" y="259"/>
                  </a:cubicBezTo>
                  <a:cubicBezTo>
                    <a:pt x="579" y="257"/>
                    <a:pt x="579" y="257"/>
                    <a:pt x="579" y="257"/>
                  </a:cubicBezTo>
                  <a:cubicBezTo>
                    <a:pt x="576" y="254"/>
                    <a:pt x="576" y="254"/>
                    <a:pt x="576" y="254"/>
                  </a:cubicBezTo>
                  <a:cubicBezTo>
                    <a:pt x="556" y="235"/>
                    <a:pt x="556" y="235"/>
                    <a:pt x="556" y="235"/>
                  </a:cubicBezTo>
                  <a:cubicBezTo>
                    <a:pt x="530" y="210"/>
                    <a:pt x="504" y="185"/>
                    <a:pt x="477" y="159"/>
                  </a:cubicBezTo>
                  <a:cubicBezTo>
                    <a:pt x="450" y="134"/>
                    <a:pt x="424" y="108"/>
                    <a:pt x="397" y="83"/>
                  </a:cubicBezTo>
                  <a:cubicBezTo>
                    <a:pt x="387" y="73"/>
                    <a:pt x="387" y="73"/>
                    <a:pt x="387" y="73"/>
                  </a:cubicBezTo>
                  <a:cubicBezTo>
                    <a:pt x="382" y="68"/>
                    <a:pt x="382" y="68"/>
                    <a:pt x="382" y="68"/>
                  </a:cubicBezTo>
                  <a:cubicBezTo>
                    <a:pt x="380" y="66"/>
                    <a:pt x="378" y="64"/>
                    <a:pt x="376" y="63"/>
                  </a:cubicBezTo>
                  <a:cubicBezTo>
                    <a:pt x="368" y="56"/>
                    <a:pt x="360" y="50"/>
                    <a:pt x="351" y="44"/>
                  </a:cubicBezTo>
                  <a:cubicBezTo>
                    <a:pt x="334" y="32"/>
                    <a:pt x="315" y="22"/>
                    <a:pt x="295" y="15"/>
                  </a:cubicBezTo>
                  <a:cubicBezTo>
                    <a:pt x="275" y="8"/>
                    <a:pt x="254" y="4"/>
                    <a:pt x="233" y="2"/>
                  </a:cubicBezTo>
                  <a:cubicBezTo>
                    <a:pt x="230" y="2"/>
                    <a:pt x="228" y="1"/>
                    <a:pt x="225" y="1"/>
                  </a:cubicBezTo>
                  <a:cubicBezTo>
                    <a:pt x="221" y="1"/>
                    <a:pt x="221" y="1"/>
                    <a:pt x="221" y="1"/>
                  </a:cubicBezTo>
                  <a:cubicBezTo>
                    <a:pt x="217" y="1"/>
                    <a:pt x="217" y="1"/>
                    <a:pt x="217" y="1"/>
                  </a:cubicBezTo>
                  <a:cubicBezTo>
                    <a:pt x="202" y="1"/>
                    <a:pt x="202" y="1"/>
                    <a:pt x="202" y="1"/>
                  </a:cubicBezTo>
                  <a:cubicBezTo>
                    <a:pt x="193" y="1"/>
                    <a:pt x="184" y="1"/>
                    <a:pt x="174" y="1"/>
                  </a:cubicBezTo>
                  <a:cubicBezTo>
                    <a:pt x="132" y="0"/>
                    <a:pt x="87" y="0"/>
                    <a:pt x="46" y="0"/>
                  </a:cubicBezTo>
                  <a:cubicBezTo>
                    <a:pt x="5" y="0"/>
                    <a:pt x="3" y="30"/>
                    <a:pt x="3" y="42"/>
                  </a:cubicBezTo>
                  <a:cubicBezTo>
                    <a:pt x="3" y="54"/>
                    <a:pt x="3" y="121"/>
                    <a:pt x="3" y="162"/>
                  </a:cubicBezTo>
                  <a:cubicBezTo>
                    <a:pt x="2" y="262"/>
                    <a:pt x="2" y="363"/>
                    <a:pt x="1" y="470"/>
                  </a:cubicBezTo>
                  <a:cubicBezTo>
                    <a:pt x="1" y="520"/>
                    <a:pt x="1" y="572"/>
                    <a:pt x="0" y="625"/>
                  </a:cubicBezTo>
                  <a:cubicBezTo>
                    <a:pt x="0" y="652"/>
                    <a:pt x="0" y="678"/>
                    <a:pt x="0" y="705"/>
                  </a:cubicBezTo>
                  <a:cubicBezTo>
                    <a:pt x="0" y="719"/>
                    <a:pt x="0" y="732"/>
                    <a:pt x="0" y="746"/>
                  </a:cubicBezTo>
                  <a:cubicBezTo>
                    <a:pt x="0" y="751"/>
                    <a:pt x="0" y="751"/>
                    <a:pt x="0" y="751"/>
                  </a:cubicBezTo>
                  <a:cubicBezTo>
                    <a:pt x="0" y="754"/>
                    <a:pt x="0" y="754"/>
                    <a:pt x="0" y="754"/>
                  </a:cubicBezTo>
                  <a:cubicBezTo>
                    <a:pt x="0" y="757"/>
                    <a:pt x="0" y="757"/>
                    <a:pt x="0" y="757"/>
                  </a:cubicBezTo>
                  <a:cubicBezTo>
                    <a:pt x="0" y="762"/>
                    <a:pt x="1" y="766"/>
                    <a:pt x="1" y="771"/>
                  </a:cubicBezTo>
                  <a:cubicBezTo>
                    <a:pt x="3" y="780"/>
                    <a:pt x="5" y="789"/>
                    <a:pt x="8" y="798"/>
                  </a:cubicBezTo>
                  <a:cubicBezTo>
                    <a:pt x="15" y="815"/>
                    <a:pt x="24" y="830"/>
                    <a:pt x="35" y="843"/>
                  </a:cubicBezTo>
                  <a:cubicBezTo>
                    <a:pt x="47" y="856"/>
                    <a:pt x="59" y="867"/>
                    <a:pt x="73" y="877"/>
                  </a:cubicBezTo>
                  <a:cubicBezTo>
                    <a:pt x="87" y="886"/>
                    <a:pt x="101" y="893"/>
                    <a:pt x="117" y="899"/>
                  </a:cubicBezTo>
                  <a:cubicBezTo>
                    <a:pt x="132" y="905"/>
                    <a:pt x="149" y="909"/>
                    <a:pt x="166" y="911"/>
                  </a:cubicBezTo>
                  <a:cubicBezTo>
                    <a:pt x="170" y="912"/>
                    <a:pt x="175" y="912"/>
                    <a:pt x="179" y="912"/>
                  </a:cubicBezTo>
                  <a:cubicBezTo>
                    <a:pt x="191" y="912"/>
                    <a:pt x="191" y="912"/>
                    <a:pt x="191" y="912"/>
                  </a:cubicBezTo>
                  <a:cubicBezTo>
                    <a:pt x="198" y="912"/>
                    <a:pt x="205" y="912"/>
                    <a:pt x="212" y="912"/>
                  </a:cubicBezTo>
                  <a:cubicBezTo>
                    <a:pt x="224" y="912"/>
                    <a:pt x="224" y="912"/>
                    <a:pt x="224" y="912"/>
                  </a:cubicBezTo>
                  <a:cubicBezTo>
                    <a:pt x="229" y="911"/>
                    <a:pt x="229" y="911"/>
                    <a:pt x="229" y="911"/>
                  </a:cubicBezTo>
                  <a:cubicBezTo>
                    <a:pt x="234" y="911"/>
                    <a:pt x="234" y="911"/>
                    <a:pt x="234" y="911"/>
                  </a:cubicBezTo>
                  <a:cubicBezTo>
                    <a:pt x="239" y="911"/>
                    <a:pt x="239" y="911"/>
                    <a:pt x="239" y="911"/>
                  </a:cubicBezTo>
                  <a:cubicBezTo>
                    <a:pt x="252" y="909"/>
                    <a:pt x="265" y="908"/>
                    <a:pt x="275" y="901"/>
                  </a:cubicBezTo>
                  <a:cubicBezTo>
                    <a:pt x="280" y="899"/>
                    <a:pt x="285" y="894"/>
                    <a:pt x="289" y="889"/>
                  </a:cubicBezTo>
                  <a:cubicBezTo>
                    <a:pt x="292" y="885"/>
                    <a:pt x="295" y="879"/>
                    <a:pt x="297" y="874"/>
                  </a:cubicBezTo>
                  <a:cubicBezTo>
                    <a:pt x="297" y="871"/>
                    <a:pt x="298" y="868"/>
                    <a:pt x="299" y="865"/>
                  </a:cubicBezTo>
                  <a:cubicBezTo>
                    <a:pt x="299" y="861"/>
                    <a:pt x="299" y="858"/>
                    <a:pt x="299" y="855"/>
                  </a:cubicBezTo>
                  <a:cubicBezTo>
                    <a:pt x="299" y="836"/>
                    <a:pt x="299" y="836"/>
                    <a:pt x="299" y="836"/>
                  </a:cubicBezTo>
                  <a:cubicBezTo>
                    <a:pt x="299" y="822"/>
                    <a:pt x="299" y="808"/>
                    <a:pt x="299" y="794"/>
                  </a:cubicBezTo>
                  <a:cubicBezTo>
                    <a:pt x="299" y="737"/>
                    <a:pt x="299" y="680"/>
                    <a:pt x="299" y="623"/>
                  </a:cubicBezTo>
                  <a:cubicBezTo>
                    <a:pt x="300" y="602"/>
                    <a:pt x="300" y="602"/>
                    <a:pt x="300" y="602"/>
                  </a:cubicBezTo>
                  <a:cubicBezTo>
                    <a:pt x="300" y="597"/>
                    <a:pt x="300" y="592"/>
                    <a:pt x="301" y="587"/>
                  </a:cubicBezTo>
                  <a:cubicBezTo>
                    <a:pt x="303" y="577"/>
                    <a:pt x="307" y="568"/>
                    <a:pt x="313" y="559"/>
                  </a:cubicBezTo>
                  <a:cubicBezTo>
                    <a:pt x="324" y="542"/>
                    <a:pt x="341" y="529"/>
                    <a:pt x="360" y="524"/>
                  </a:cubicBezTo>
                  <a:cubicBezTo>
                    <a:pt x="365" y="522"/>
                    <a:pt x="370" y="521"/>
                    <a:pt x="375" y="521"/>
                  </a:cubicBezTo>
                  <a:cubicBezTo>
                    <a:pt x="377" y="521"/>
                    <a:pt x="379" y="521"/>
                    <a:pt x="382" y="521"/>
                  </a:cubicBezTo>
                  <a:cubicBezTo>
                    <a:pt x="385" y="521"/>
                    <a:pt x="388" y="521"/>
                    <a:pt x="391" y="521"/>
                  </a:cubicBezTo>
                  <a:cubicBezTo>
                    <a:pt x="403" y="521"/>
                    <a:pt x="415" y="523"/>
                    <a:pt x="426" y="526"/>
                  </a:cubicBezTo>
                  <a:cubicBezTo>
                    <a:pt x="450" y="532"/>
                    <a:pt x="472" y="543"/>
                    <a:pt x="494" y="557"/>
                  </a:cubicBezTo>
                  <a:cubicBezTo>
                    <a:pt x="516" y="571"/>
                    <a:pt x="537" y="588"/>
                    <a:pt x="557" y="606"/>
                  </a:cubicBezTo>
                  <a:cubicBezTo>
                    <a:pt x="578" y="623"/>
                    <a:pt x="598" y="643"/>
                    <a:pt x="619" y="662"/>
                  </a:cubicBezTo>
                  <a:cubicBezTo>
                    <a:pt x="629" y="672"/>
                    <a:pt x="640" y="682"/>
                    <a:pt x="650" y="690"/>
                  </a:cubicBezTo>
                  <a:cubicBezTo>
                    <a:pt x="661" y="700"/>
                    <a:pt x="671" y="709"/>
                    <a:pt x="681" y="718"/>
                  </a:cubicBezTo>
                  <a:cubicBezTo>
                    <a:pt x="702" y="737"/>
                    <a:pt x="722" y="756"/>
                    <a:pt x="744" y="774"/>
                  </a:cubicBezTo>
                  <a:cubicBezTo>
                    <a:pt x="766" y="792"/>
                    <a:pt x="790" y="810"/>
                    <a:pt x="816" y="824"/>
                  </a:cubicBezTo>
                  <a:cubicBezTo>
                    <a:pt x="830" y="832"/>
                    <a:pt x="844" y="838"/>
                    <a:pt x="859" y="843"/>
                  </a:cubicBezTo>
                  <a:cubicBezTo>
                    <a:pt x="874" y="848"/>
                    <a:pt x="890" y="851"/>
                    <a:pt x="907" y="852"/>
                  </a:cubicBezTo>
                  <a:cubicBezTo>
                    <a:pt x="923" y="853"/>
                    <a:pt x="939" y="852"/>
                    <a:pt x="955" y="849"/>
                  </a:cubicBezTo>
                  <a:cubicBezTo>
                    <a:pt x="970" y="846"/>
                    <a:pt x="985" y="841"/>
                    <a:pt x="999" y="835"/>
                  </a:cubicBezTo>
                  <a:cubicBezTo>
                    <a:pt x="1027" y="822"/>
                    <a:pt x="1050" y="806"/>
                    <a:pt x="1072" y="790"/>
                  </a:cubicBezTo>
                  <a:cubicBezTo>
                    <a:pt x="1093" y="773"/>
                    <a:pt x="1113" y="756"/>
                    <a:pt x="1131" y="739"/>
                  </a:cubicBezTo>
                  <a:cubicBezTo>
                    <a:pt x="1150" y="722"/>
                    <a:pt x="1168" y="705"/>
                    <a:pt x="1186" y="689"/>
                  </a:cubicBezTo>
                  <a:cubicBezTo>
                    <a:pt x="1191" y="685"/>
                    <a:pt x="1195" y="681"/>
                    <a:pt x="1199" y="677"/>
                  </a:cubicBezTo>
                  <a:cubicBezTo>
                    <a:pt x="1204" y="673"/>
                    <a:pt x="1209" y="668"/>
                    <a:pt x="1213" y="664"/>
                  </a:cubicBezTo>
                  <a:cubicBezTo>
                    <a:pt x="1222" y="656"/>
                    <a:pt x="1231" y="648"/>
                    <a:pt x="1239" y="639"/>
                  </a:cubicBezTo>
                  <a:cubicBezTo>
                    <a:pt x="1256" y="623"/>
                    <a:pt x="1273" y="608"/>
                    <a:pt x="1290" y="593"/>
                  </a:cubicBezTo>
                  <a:cubicBezTo>
                    <a:pt x="1323" y="564"/>
                    <a:pt x="1357" y="541"/>
                    <a:pt x="1392" y="527"/>
                  </a:cubicBezTo>
                  <a:cubicBezTo>
                    <a:pt x="1410" y="521"/>
                    <a:pt x="1427" y="517"/>
                    <a:pt x="1445" y="515"/>
                  </a:cubicBezTo>
                  <a:cubicBezTo>
                    <a:pt x="1449" y="515"/>
                    <a:pt x="1454" y="515"/>
                    <a:pt x="1458" y="515"/>
                  </a:cubicBezTo>
                  <a:cubicBezTo>
                    <a:pt x="1461" y="515"/>
                    <a:pt x="1465" y="515"/>
                    <a:pt x="1469" y="515"/>
                  </a:cubicBezTo>
                  <a:cubicBezTo>
                    <a:pt x="1476" y="516"/>
                    <a:pt x="1483" y="518"/>
                    <a:pt x="1490" y="521"/>
                  </a:cubicBezTo>
                  <a:cubicBezTo>
                    <a:pt x="1504" y="527"/>
                    <a:pt x="1516" y="536"/>
                    <a:pt x="1525" y="546"/>
                  </a:cubicBezTo>
                  <a:cubicBezTo>
                    <a:pt x="1534" y="557"/>
                    <a:pt x="1540" y="570"/>
                    <a:pt x="1544" y="583"/>
                  </a:cubicBezTo>
                  <a:cubicBezTo>
                    <a:pt x="1546" y="589"/>
                    <a:pt x="1546" y="596"/>
                    <a:pt x="1547" y="602"/>
                  </a:cubicBezTo>
                  <a:cubicBezTo>
                    <a:pt x="1547" y="611"/>
                    <a:pt x="1547" y="619"/>
                    <a:pt x="1547" y="627"/>
                  </a:cubicBezTo>
                  <a:cubicBezTo>
                    <a:pt x="1547" y="644"/>
                    <a:pt x="1548" y="660"/>
                    <a:pt x="1548" y="675"/>
                  </a:cubicBezTo>
                  <a:cubicBezTo>
                    <a:pt x="1548" y="691"/>
                    <a:pt x="1548" y="706"/>
                    <a:pt x="1549" y="721"/>
                  </a:cubicBezTo>
                  <a:cubicBezTo>
                    <a:pt x="1549" y="728"/>
                    <a:pt x="1549" y="736"/>
                    <a:pt x="1549" y="743"/>
                  </a:cubicBezTo>
                  <a:cubicBezTo>
                    <a:pt x="1549" y="746"/>
                    <a:pt x="1549" y="750"/>
                    <a:pt x="1549" y="754"/>
                  </a:cubicBezTo>
                  <a:cubicBezTo>
                    <a:pt x="1549" y="758"/>
                    <a:pt x="1550" y="762"/>
                    <a:pt x="1550" y="767"/>
                  </a:cubicBezTo>
                  <a:cubicBezTo>
                    <a:pt x="1553" y="784"/>
                    <a:pt x="1559" y="799"/>
                    <a:pt x="1566" y="812"/>
                  </a:cubicBezTo>
                  <a:cubicBezTo>
                    <a:pt x="1574" y="825"/>
                    <a:pt x="1583" y="835"/>
                    <a:pt x="1593" y="844"/>
                  </a:cubicBezTo>
                  <a:cubicBezTo>
                    <a:pt x="1611" y="862"/>
                    <a:pt x="1632" y="874"/>
                    <a:pt x="1651" y="882"/>
                  </a:cubicBezTo>
                  <a:cubicBezTo>
                    <a:pt x="1670" y="890"/>
                    <a:pt x="1689" y="894"/>
                    <a:pt x="1707" y="896"/>
                  </a:cubicBezTo>
                  <a:cubicBezTo>
                    <a:pt x="1716" y="897"/>
                    <a:pt x="1726" y="897"/>
                    <a:pt x="1733" y="896"/>
                  </a:cubicBezTo>
                  <a:cubicBezTo>
                    <a:pt x="1741" y="896"/>
                    <a:pt x="1748" y="896"/>
                    <a:pt x="1755" y="895"/>
                  </a:cubicBezTo>
                  <a:cubicBezTo>
                    <a:pt x="1759" y="895"/>
                    <a:pt x="1762" y="894"/>
                    <a:pt x="1766" y="894"/>
                  </a:cubicBezTo>
                  <a:cubicBezTo>
                    <a:pt x="1768" y="894"/>
                    <a:pt x="1770" y="894"/>
                    <a:pt x="1772" y="894"/>
                  </a:cubicBezTo>
                  <a:cubicBezTo>
                    <a:pt x="1774" y="893"/>
                    <a:pt x="1777" y="893"/>
                    <a:pt x="1779" y="893"/>
                  </a:cubicBezTo>
                  <a:cubicBezTo>
                    <a:pt x="1789" y="892"/>
                    <a:pt x="1797" y="890"/>
                    <a:pt x="1805" y="886"/>
                  </a:cubicBezTo>
                  <a:cubicBezTo>
                    <a:pt x="1808" y="884"/>
                    <a:pt x="1811" y="881"/>
                    <a:pt x="1814" y="878"/>
                  </a:cubicBezTo>
                  <a:cubicBezTo>
                    <a:pt x="1816" y="874"/>
                    <a:pt x="1817" y="870"/>
                    <a:pt x="1818" y="866"/>
                  </a:cubicBezTo>
                  <a:cubicBezTo>
                    <a:pt x="1820" y="858"/>
                    <a:pt x="1819" y="850"/>
                    <a:pt x="1819" y="841"/>
                  </a:cubicBezTo>
                  <a:close/>
                  <a:moveTo>
                    <a:pt x="1809" y="865"/>
                  </a:moveTo>
                  <a:cubicBezTo>
                    <a:pt x="1808" y="868"/>
                    <a:pt x="1807" y="872"/>
                    <a:pt x="1804" y="874"/>
                  </a:cubicBezTo>
                  <a:cubicBezTo>
                    <a:pt x="1803" y="876"/>
                    <a:pt x="1801" y="877"/>
                    <a:pt x="1799" y="878"/>
                  </a:cubicBezTo>
                  <a:cubicBezTo>
                    <a:pt x="1798" y="879"/>
                    <a:pt x="1796" y="879"/>
                    <a:pt x="1794" y="880"/>
                  </a:cubicBezTo>
                  <a:cubicBezTo>
                    <a:pt x="1787" y="882"/>
                    <a:pt x="1779" y="883"/>
                    <a:pt x="1771" y="884"/>
                  </a:cubicBezTo>
                  <a:cubicBezTo>
                    <a:pt x="1767" y="884"/>
                    <a:pt x="1763" y="884"/>
                    <a:pt x="1760" y="884"/>
                  </a:cubicBezTo>
                  <a:cubicBezTo>
                    <a:pt x="1756" y="885"/>
                    <a:pt x="1753" y="885"/>
                    <a:pt x="1749" y="885"/>
                  </a:cubicBezTo>
                  <a:cubicBezTo>
                    <a:pt x="1742" y="885"/>
                    <a:pt x="1735" y="886"/>
                    <a:pt x="1727" y="886"/>
                  </a:cubicBezTo>
                  <a:cubicBezTo>
                    <a:pt x="1720" y="886"/>
                    <a:pt x="1712" y="886"/>
                    <a:pt x="1704" y="885"/>
                  </a:cubicBezTo>
                  <a:cubicBezTo>
                    <a:pt x="1689" y="883"/>
                    <a:pt x="1674" y="879"/>
                    <a:pt x="1660" y="873"/>
                  </a:cubicBezTo>
                  <a:cubicBezTo>
                    <a:pt x="1632" y="862"/>
                    <a:pt x="1606" y="845"/>
                    <a:pt x="1588" y="823"/>
                  </a:cubicBezTo>
                  <a:cubicBezTo>
                    <a:pt x="1577" y="810"/>
                    <a:pt x="1568" y="795"/>
                    <a:pt x="1563" y="778"/>
                  </a:cubicBezTo>
                  <a:cubicBezTo>
                    <a:pt x="1562" y="773"/>
                    <a:pt x="1561" y="769"/>
                    <a:pt x="1561" y="765"/>
                  </a:cubicBezTo>
                  <a:cubicBezTo>
                    <a:pt x="1560" y="762"/>
                    <a:pt x="1560" y="760"/>
                    <a:pt x="1560" y="758"/>
                  </a:cubicBezTo>
                  <a:cubicBezTo>
                    <a:pt x="1560" y="756"/>
                    <a:pt x="1560" y="753"/>
                    <a:pt x="1560" y="751"/>
                  </a:cubicBezTo>
                  <a:cubicBezTo>
                    <a:pt x="1560" y="743"/>
                    <a:pt x="1559" y="736"/>
                    <a:pt x="1559" y="728"/>
                  </a:cubicBezTo>
                  <a:cubicBezTo>
                    <a:pt x="1558" y="696"/>
                    <a:pt x="1557" y="663"/>
                    <a:pt x="1556" y="628"/>
                  </a:cubicBezTo>
                  <a:cubicBezTo>
                    <a:pt x="1556" y="620"/>
                    <a:pt x="1556" y="611"/>
                    <a:pt x="1556" y="602"/>
                  </a:cubicBezTo>
                  <a:cubicBezTo>
                    <a:pt x="1555" y="594"/>
                    <a:pt x="1554" y="586"/>
                    <a:pt x="1552" y="578"/>
                  </a:cubicBezTo>
                  <a:cubicBezTo>
                    <a:pt x="1547" y="563"/>
                    <a:pt x="1539" y="548"/>
                    <a:pt x="1526" y="535"/>
                  </a:cubicBezTo>
                  <a:cubicBezTo>
                    <a:pt x="1513" y="523"/>
                    <a:pt x="1497" y="513"/>
                    <a:pt x="1478" y="509"/>
                  </a:cubicBezTo>
                  <a:cubicBezTo>
                    <a:pt x="1473" y="508"/>
                    <a:pt x="1468" y="507"/>
                    <a:pt x="1464" y="507"/>
                  </a:cubicBezTo>
                  <a:cubicBezTo>
                    <a:pt x="1461" y="507"/>
                    <a:pt x="1459" y="507"/>
                    <a:pt x="1456" y="507"/>
                  </a:cubicBezTo>
                  <a:cubicBezTo>
                    <a:pt x="1453" y="507"/>
                    <a:pt x="1450" y="507"/>
                    <a:pt x="1448" y="507"/>
                  </a:cubicBezTo>
                  <a:cubicBezTo>
                    <a:pt x="1437" y="508"/>
                    <a:pt x="1425" y="510"/>
                    <a:pt x="1414" y="513"/>
                  </a:cubicBezTo>
                  <a:cubicBezTo>
                    <a:pt x="1390" y="519"/>
                    <a:pt x="1367" y="529"/>
                    <a:pt x="1344" y="544"/>
                  </a:cubicBezTo>
                  <a:cubicBezTo>
                    <a:pt x="1320" y="558"/>
                    <a:pt x="1298" y="577"/>
                    <a:pt x="1275" y="597"/>
                  </a:cubicBezTo>
                  <a:cubicBezTo>
                    <a:pt x="1251" y="619"/>
                    <a:pt x="1227" y="643"/>
                    <a:pt x="1200" y="668"/>
                  </a:cubicBezTo>
                  <a:cubicBezTo>
                    <a:pt x="1193" y="674"/>
                    <a:pt x="1186" y="680"/>
                    <a:pt x="1180" y="686"/>
                  </a:cubicBezTo>
                  <a:cubicBezTo>
                    <a:pt x="1173" y="692"/>
                    <a:pt x="1166" y="698"/>
                    <a:pt x="1159" y="705"/>
                  </a:cubicBezTo>
                  <a:cubicBezTo>
                    <a:pt x="1146" y="717"/>
                    <a:pt x="1132" y="730"/>
                    <a:pt x="1118" y="743"/>
                  </a:cubicBezTo>
                  <a:cubicBezTo>
                    <a:pt x="1103" y="756"/>
                    <a:pt x="1088" y="769"/>
                    <a:pt x="1072" y="782"/>
                  </a:cubicBezTo>
                  <a:cubicBezTo>
                    <a:pt x="1056" y="794"/>
                    <a:pt x="1039" y="807"/>
                    <a:pt x="1020" y="818"/>
                  </a:cubicBezTo>
                  <a:cubicBezTo>
                    <a:pt x="1001" y="828"/>
                    <a:pt x="980" y="838"/>
                    <a:pt x="956" y="843"/>
                  </a:cubicBezTo>
                  <a:cubicBezTo>
                    <a:pt x="933" y="848"/>
                    <a:pt x="907" y="848"/>
                    <a:pt x="883" y="843"/>
                  </a:cubicBezTo>
                  <a:cubicBezTo>
                    <a:pt x="859" y="839"/>
                    <a:pt x="836" y="829"/>
                    <a:pt x="816" y="818"/>
                  </a:cubicBezTo>
                  <a:cubicBezTo>
                    <a:pt x="796" y="806"/>
                    <a:pt x="777" y="793"/>
                    <a:pt x="759" y="779"/>
                  </a:cubicBezTo>
                  <a:cubicBezTo>
                    <a:pt x="724" y="751"/>
                    <a:pt x="692" y="720"/>
                    <a:pt x="658" y="691"/>
                  </a:cubicBezTo>
                  <a:cubicBezTo>
                    <a:pt x="650" y="683"/>
                    <a:pt x="642" y="676"/>
                    <a:pt x="633" y="669"/>
                  </a:cubicBezTo>
                  <a:cubicBezTo>
                    <a:pt x="625" y="661"/>
                    <a:pt x="616" y="653"/>
                    <a:pt x="608" y="645"/>
                  </a:cubicBezTo>
                  <a:cubicBezTo>
                    <a:pt x="592" y="630"/>
                    <a:pt x="575" y="615"/>
                    <a:pt x="559" y="600"/>
                  </a:cubicBezTo>
                  <a:cubicBezTo>
                    <a:pt x="525" y="571"/>
                    <a:pt x="490" y="545"/>
                    <a:pt x="452" y="530"/>
                  </a:cubicBezTo>
                  <a:cubicBezTo>
                    <a:pt x="433" y="522"/>
                    <a:pt x="414" y="518"/>
                    <a:pt x="394" y="516"/>
                  </a:cubicBezTo>
                  <a:cubicBezTo>
                    <a:pt x="391" y="516"/>
                    <a:pt x="389" y="516"/>
                    <a:pt x="386" y="516"/>
                  </a:cubicBezTo>
                  <a:cubicBezTo>
                    <a:pt x="384" y="516"/>
                    <a:pt x="381" y="516"/>
                    <a:pt x="379" y="516"/>
                  </a:cubicBezTo>
                  <a:cubicBezTo>
                    <a:pt x="375" y="516"/>
                    <a:pt x="370" y="516"/>
                    <a:pt x="366" y="517"/>
                  </a:cubicBezTo>
                  <a:cubicBezTo>
                    <a:pt x="358" y="519"/>
                    <a:pt x="350" y="522"/>
                    <a:pt x="342" y="526"/>
                  </a:cubicBezTo>
                  <a:cubicBezTo>
                    <a:pt x="327" y="534"/>
                    <a:pt x="313" y="547"/>
                    <a:pt x="305" y="563"/>
                  </a:cubicBezTo>
                  <a:cubicBezTo>
                    <a:pt x="301" y="570"/>
                    <a:pt x="298" y="579"/>
                    <a:pt x="296" y="587"/>
                  </a:cubicBezTo>
                  <a:cubicBezTo>
                    <a:pt x="296" y="592"/>
                    <a:pt x="295" y="596"/>
                    <a:pt x="295" y="600"/>
                  </a:cubicBezTo>
                  <a:cubicBezTo>
                    <a:pt x="295" y="602"/>
                    <a:pt x="295" y="603"/>
                    <a:pt x="295" y="604"/>
                  </a:cubicBezTo>
                  <a:cubicBezTo>
                    <a:pt x="295" y="608"/>
                    <a:pt x="295" y="608"/>
                    <a:pt x="295" y="608"/>
                  </a:cubicBezTo>
                  <a:cubicBezTo>
                    <a:pt x="295" y="617"/>
                    <a:pt x="295" y="617"/>
                    <a:pt x="295" y="617"/>
                  </a:cubicBezTo>
                  <a:cubicBezTo>
                    <a:pt x="295" y="664"/>
                    <a:pt x="295" y="711"/>
                    <a:pt x="295" y="759"/>
                  </a:cubicBezTo>
                  <a:cubicBezTo>
                    <a:pt x="295" y="782"/>
                    <a:pt x="295" y="806"/>
                    <a:pt x="295" y="829"/>
                  </a:cubicBezTo>
                  <a:cubicBezTo>
                    <a:pt x="295" y="839"/>
                    <a:pt x="295" y="839"/>
                    <a:pt x="295" y="839"/>
                  </a:cubicBezTo>
                  <a:cubicBezTo>
                    <a:pt x="294" y="854"/>
                    <a:pt x="294" y="854"/>
                    <a:pt x="294" y="854"/>
                  </a:cubicBezTo>
                  <a:cubicBezTo>
                    <a:pt x="294" y="857"/>
                    <a:pt x="294" y="859"/>
                    <a:pt x="294" y="862"/>
                  </a:cubicBezTo>
                  <a:cubicBezTo>
                    <a:pt x="294" y="864"/>
                    <a:pt x="294" y="867"/>
                    <a:pt x="293" y="869"/>
                  </a:cubicBezTo>
                  <a:cubicBezTo>
                    <a:pt x="292" y="874"/>
                    <a:pt x="290" y="878"/>
                    <a:pt x="288" y="882"/>
                  </a:cubicBezTo>
                  <a:cubicBezTo>
                    <a:pt x="286" y="886"/>
                    <a:pt x="283" y="890"/>
                    <a:pt x="279" y="893"/>
                  </a:cubicBezTo>
                  <a:cubicBezTo>
                    <a:pt x="275" y="896"/>
                    <a:pt x="271" y="899"/>
                    <a:pt x="267" y="901"/>
                  </a:cubicBezTo>
                  <a:cubicBezTo>
                    <a:pt x="258" y="904"/>
                    <a:pt x="248" y="905"/>
                    <a:pt x="237" y="906"/>
                  </a:cubicBezTo>
                  <a:cubicBezTo>
                    <a:pt x="235" y="907"/>
                    <a:pt x="232" y="907"/>
                    <a:pt x="230" y="907"/>
                  </a:cubicBezTo>
                  <a:cubicBezTo>
                    <a:pt x="225" y="907"/>
                    <a:pt x="225" y="907"/>
                    <a:pt x="225" y="907"/>
                  </a:cubicBezTo>
                  <a:cubicBezTo>
                    <a:pt x="215" y="907"/>
                    <a:pt x="215" y="907"/>
                    <a:pt x="215" y="907"/>
                  </a:cubicBezTo>
                  <a:cubicBezTo>
                    <a:pt x="209" y="908"/>
                    <a:pt x="203" y="908"/>
                    <a:pt x="197" y="908"/>
                  </a:cubicBezTo>
                  <a:cubicBezTo>
                    <a:pt x="188" y="908"/>
                    <a:pt x="188" y="908"/>
                    <a:pt x="188" y="908"/>
                  </a:cubicBezTo>
                  <a:cubicBezTo>
                    <a:pt x="179" y="908"/>
                    <a:pt x="179" y="908"/>
                    <a:pt x="179" y="908"/>
                  </a:cubicBezTo>
                  <a:cubicBezTo>
                    <a:pt x="171" y="907"/>
                    <a:pt x="164" y="907"/>
                    <a:pt x="157" y="906"/>
                  </a:cubicBezTo>
                  <a:cubicBezTo>
                    <a:pt x="130" y="901"/>
                    <a:pt x="104" y="891"/>
                    <a:pt x="81" y="877"/>
                  </a:cubicBezTo>
                  <a:cubicBezTo>
                    <a:pt x="58" y="862"/>
                    <a:pt x="37" y="843"/>
                    <a:pt x="22" y="818"/>
                  </a:cubicBezTo>
                  <a:cubicBezTo>
                    <a:pt x="15" y="805"/>
                    <a:pt x="9" y="791"/>
                    <a:pt x="7" y="776"/>
                  </a:cubicBezTo>
                  <a:cubicBezTo>
                    <a:pt x="5" y="769"/>
                    <a:pt x="4" y="761"/>
                    <a:pt x="4" y="753"/>
                  </a:cubicBezTo>
                  <a:cubicBezTo>
                    <a:pt x="4" y="747"/>
                    <a:pt x="4" y="742"/>
                    <a:pt x="4" y="736"/>
                  </a:cubicBezTo>
                  <a:cubicBezTo>
                    <a:pt x="5" y="644"/>
                    <a:pt x="5" y="554"/>
                    <a:pt x="5" y="467"/>
                  </a:cubicBezTo>
                  <a:cubicBezTo>
                    <a:pt x="6" y="378"/>
                    <a:pt x="6" y="292"/>
                    <a:pt x="7" y="206"/>
                  </a:cubicBezTo>
                  <a:cubicBezTo>
                    <a:pt x="7" y="151"/>
                    <a:pt x="8" y="66"/>
                    <a:pt x="8" y="44"/>
                  </a:cubicBezTo>
                  <a:cubicBezTo>
                    <a:pt x="8" y="22"/>
                    <a:pt x="17" y="4"/>
                    <a:pt x="48" y="4"/>
                  </a:cubicBezTo>
                  <a:cubicBezTo>
                    <a:pt x="52" y="4"/>
                    <a:pt x="58" y="4"/>
                    <a:pt x="64" y="4"/>
                  </a:cubicBezTo>
                  <a:cubicBezTo>
                    <a:pt x="94" y="4"/>
                    <a:pt x="133" y="5"/>
                    <a:pt x="166" y="5"/>
                  </a:cubicBezTo>
                  <a:cubicBezTo>
                    <a:pt x="184" y="5"/>
                    <a:pt x="202" y="5"/>
                    <a:pt x="220" y="5"/>
                  </a:cubicBezTo>
                  <a:cubicBezTo>
                    <a:pt x="240" y="6"/>
                    <a:pt x="259" y="9"/>
                    <a:pt x="278" y="15"/>
                  </a:cubicBezTo>
                  <a:cubicBezTo>
                    <a:pt x="317" y="25"/>
                    <a:pt x="352" y="46"/>
                    <a:pt x="381" y="73"/>
                  </a:cubicBezTo>
                  <a:cubicBezTo>
                    <a:pt x="407" y="98"/>
                    <a:pt x="434" y="123"/>
                    <a:pt x="460" y="148"/>
                  </a:cubicBezTo>
                  <a:cubicBezTo>
                    <a:pt x="497" y="183"/>
                    <a:pt x="537" y="222"/>
                    <a:pt x="578" y="260"/>
                  </a:cubicBezTo>
                  <a:cubicBezTo>
                    <a:pt x="597" y="279"/>
                    <a:pt x="617" y="296"/>
                    <a:pt x="639" y="311"/>
                  </a:cubicBezTo>
                  <a:cubicBezTo>
                    <a:pt x="660" y="326"/>
                    <a:pt x="682" y="339"/>
                    <a:pt x="704" y="350"/>
                  </a:cubicBezTo>
                  <a:cubicBezTo>
                    <a:pt x="748" y="371"/>
                    <a:pt x="792" y="383"/>
                    <a:pt x="826" y="390"/>
                  </a:cubicBezTo>
                  <a:cubicBezTo>
                    <a:pt x="861" y="397"/>
                    <a:pt x="887" y="398"/>
                    <a:pt x="900" y="400"/>
                  </a:cubicBezTo>
                  <a:cubicBezTo>
                    <a:pt x="980" y="404"/>
                    <a:pt x="1049" y="390"/>
                    <a:pt x="1105" y="370"/>
                  </a:cubicBezTo>
                  <a:cubicBezTo>
                    <a:pt x="1161" y="350"/>
                    <a:pt x="1204" y="323"/>
                    <a:pt x="1237" y="297"/>
                  </a:cubicBezTo>
                  <a:cubicBezTo>
                    <a:pt x="1245" y="291"/>
                    <a:pt x="1253" y="285"/>
                    <a:pt x="1260" y="278"/>
                  </a:cubicBezTo>
                  <a:cubicBezTo>
                    <a:pt x="1267" y="272"/>
                    <a:pt x="1274" y="266"/>
                    <a:pt x="1281" y="260"/>
                  </a:cubicBezTo>
                  <a:cubicBezTo>
                    <a:pt x="1294" y="249"/>
                    <a:pt x="1305" y="239"/>
                    <a:pt x="1316" y="230"/>
                  </a:cubicBezTo>
                  <a:cubicBezTo>
                    <a:pt x="1336" y="213"/>
                    <a:pt x="1352" y="200"/>
                    <a:pt x="1364" y="191"/>
                  </a:cubicBezTo>
                  <a:cubicBezTo>
                    <a:pt x="1373" y="184"/>
                    <a:pt x="1378" y="180"/>
                    <a:pt x="1383" y="178"/>
                  </a:cubicBezTo>
                  <a:cubicBezTo>
                    <a:pt x="1387" y="175"/>
                    <a:pt x="1387" y="177"/>
                    <a:pt x="1384" y="181"/>
                  </a:cubicBezTo>
                  <a:cubicBezTo>
                    <a:pt x="1382" y="184"/>
                    <a:pt x="1377" y="191"/>
                    <a:pt x="1368" y="200"/>
                  </a:cubicBezTo>
                  <a:cubicBezTo>
                    <a:pt x="1367" y="201"/>
                    <a:pt x="1366" y="202"/>
                    <a:pt x="1365" y="204"/>
                  </a:cubicBezTo>
                  <a:cubicBezTo>
                    <a:pt x="1355" y="214"/>
                    <a:pt x="1342" y="228"/>
                    <a:pt x="1326" y="245"/>
                  </a:cubicBezTo>
                  <a:cubicBezTo>
                    <a:pt x="1319" y="252"/>
                    <a:pt x="1309" y="262"/>
                    <a:pt x="1296" y="276"/>
                  </a:cubicBezTo>
                  <a:cubicBezTo>
                    <a:pt x="1289" y="283"/>
                    <a:pt x="1281" y="291"/>
                    <a:pt x="1273" y="299"/>
                  </a:cubicBezTo>
                  <a:cubicBezTo>
                    <a:pt x="1264" y="308"/>
                    <a:pt x="1254" y="317"/>
                    <a:pt x="1243" y="326"/>
                  </a:cubicBezTo>
                  <a:cubicBezTo>
                    <a:pt x="1221" y="344"/>
                    <a:pt x="1194" y="363"/>
                    <a:pt x="1161" y="381"/>
                  </a:cubicBezTo>
                  <a:cubicBezTo>
                    <a:pt x="1128" y="398"/>
                    <a:pt x="1090" y="413"/>
                    <a:pt x="1048" y="423"/>
                  </a:cubicBezTo>
                  <a:cubicBezTo>
                    <a:pt x="1009" y="433"/>
                    <a:pt x="967" y="439"/>
                    <a:pt x="925" y="440"/>
                  </a:cubicBezTo>
                  <a:cubicBezTo>
                    <a:pt x="882" y="441"/>
                    <a:pt x="838" y="437"/>
                    <a:pt x="793" y="427"/>
                  </a:cubicBezTo>
                  <a:cubicBezTo>
                    <a:pt x="741" y="416"/>
                    <a:pt x="685" y="395"/>
                    <a:pt x="631" y="362"/>
                  </a:cubicBezTo>
                  <a:cubicBezTo>
                    <a:pt x="604" y="345"/>
                    <a:pt x="577" y="325"/>
                    <a:pt x="553" y="302"/>
                  </a:cubicBezTo>
                  <a:cubicBezTo>
                    <a:pt x="550" y="299"/>
                    <a:pt x="547" y="296"/>
                    <a:pt x="544" y="293"/>
                  </a:cubicBezTo>
                  <a:cubicBezTo>
                    <a:pt x="541" y="291"/>
                    <a:pt x="538" y="288"/>
                    <a:pt x="535" y="286"/>
                  </a:cubicBezTo>
                  <a:cubicBezTo>
                    <a:pt x="529" y="280"/>
                    <a:pt x="523" y="275"/>
                    <a:pt x="517" y="269"/>
                  </a:cubicBezTo>
                  <a:cubicBezTo>
                    <a:pt x="505" y="258"/>
                    <a:pt x="493" y="247"/>
                    <a:pt x="481" y="235"/>
                  </a:cubicBezTo>
                  <a:cubicBezTo>
                    <a:pt x="456" y="213"/>
                    <a:pt x="431" y="189"/>
                    <a:pt x="406" y="166"/>
                  </a:cubicBezTo>
                  <a:cubicBezTo>
                    <a:pt x="393" y="154"/>
                    <a:pt x="381" y="142"/>
                    <a:pt x="368" y="130"/>
                  </a:cubicBezTo>
                  <a:cubicBezTo>
                    <a:pt x="361" y="125"/>
                    <a:pt x="355" y="119"/>
                    <a:pt x="348" y="113"/>
                  </a:cubicBezTo>
                  <a:cubicBezTo>
                    <a:pt x="345" y="109"/>
                    <a:pt x="343" y="107"/>
                    <a:pt x="340" y="105"/>
                  </a:cubicBezTo>
                  <a:cubicBezTo>
                    <a:pt x="337" y="102"/>
                    <a:pt x="334" y="100"/>
                    <a:pt x="330" y="97"/>
                  </a:cubicBezTo>
                  <a:cubicBezTo>
                    <a:pt x="306" y="79"/>
                    <a:pt x="276" y="66"/>
                    <a:pt x="246" y="61"/>
                  </a:cubicBezTo>
                  <a:cubicBezTo>
                    <a:pt x="238" y="60"/>
                    <a:pt x="230" y="59"/>
                    <a:pt x="222" y="58"/>
                  </a:cubicBezTo>
                  <a:cubicBezTo>
                    <a:pt x="217" y="58"/>
                    <a:pt x="217" y="58"/>
                    <a:pt x="217" y="58"/>
                  </a:cubicBezTo>
                  <a:cubicBezTo>
                    <a:pt x="210" y="58"/>
                    <a:pt x="210" y="58"/>
                    <a:pt x="210" y="58"/>
                  </a:cubicBezTo>
                  <a:cubicBezTo>
                    <a:pt x="197" y="58"/>
                    <a:pt x="197" y="58"/>
                    <a:pt x="197" y="58"/>
                  </a:cubicBezTo>
                  <a:cubicBezTo>
                    <a:pt x="179" y="58"/>
                    <a:pt x="161" y="58"/>
                    <a:pt x="143" y="58"/>
                  </a:cubicBezTo>
                  <a:cubicBezTo>
                    <a:pt x="119" y="58"/>
                    <a:pt x="82" y="58"/>
                    <a:pt x="70" y="58"/>
                  </a:cubicBezTo>
                  <a:cubicBezTo>
                    <a:pt x="64" y="58"/>
                    <a:pt x="63" y="60"/>
                    <a:pt x="63" y="68"/>
                  </a:cubicBezTo>
                  <a:cubicBezTo>
                    <a:pt x="63" y="93"/>
                    <a:pt x="63" y="462"/>
                    <a:pt x="63" y="652"/>
                  </a:cubicBezTo>
                  <a:cubicBezTo>
                    <a:pt x="63" y="677"/>
                    <a:pt x="63" y="702"/>
                    <a:pt x="63" y="727"/>
                  </a:cubicBezTo>
                  <a:cubicBezTo>
                    <a:pt x="63" y="745"/>
                    <a:pt x="63" y="745"/>
                    <a:pt x="63" y="745"/>
                  </a:cubicBezTo>
                  <a:cubicBezTo>
                    <a:pt x="63" y="754"/>
                    <a:pt x="63" y="754"/>
                    <a:pt x="63" y="754"/>
                  </a:cubicBezTo>
                  <a:cubicBezTo>
                    <a:pt x="63" y="756"/>
                    <a:pt x="63" y="758"/>
                    <a:pt x="64" y="760"/>
                  </a:cubicBezTo>
                  <a:cubicBezTo>
                    <a:pt x="65" y="769"/>
                    <a:pt x="68" y="777"/>
                    <a:pt x="72" y="785"/>
                  </a:cubicBezTo>
                  <a:cubicBezTo>
                    <a:pt x="81" y="802"/>
                    <a:pt x="96" y="816"/>
                    <a:pt x="113" y="827"/>
                  </a:cubicBezTo>
                  <a:cubicBezTo>
                    <a:pt x="131" y="838"/>
                    <a:pt x="151" y="845"/>
                    <a:pt x="171" y="848"/>
                  </a:cubicBezTo>
                  <a:cubicBezTo>
                    <a:pt x="173" y="848"/>
                    <a:pt x="176" y="848"/>
                    <a:pt x="178" y="848"/>
                  </a:cubicBezTo>
                  <a:cubicBezTo>
                    <a:pt x="179" y="848"/>
                    <a:pt x="181" y="848"/>
                    <a:pt x="182" y="848"/>
                  </a:cubicBezTo>
                  <a:cubicBezTo>
                    <a:pt x="186" y="848"/>
                    <a:pt x="186" y="848"/>
                    <a:pt x="186" y="848"/>
                  </a:cubicBezTo>
                  <a:cubicBezTo>
                    <a:pt x="204" y="848"/>
                    <a:pt x="204" y="848"/>
                    <a:pt x="204" y="848"/>
                  </a:cubicBezTo>
                  <a:cubicBezTo>
                    <a:pt x="210" y="848"/>
                    <a:pt x="216" y="848"/>
                    <a:pt x="222" y="848"/>
                  </a:cubicBezTo>
                  <a:cubicBezTo>
                    <a:pt x="227" y="847"/>
                    <a:pt x="227" y="847"/>
                    <a:pt x="227" y="847"/>
                  </a:cubicBezTo>
                  <a:cubicBezTo>
                    <a:pt x="230" y="847"/>
                    <a:pt x="230" y="847"/>
                    <a:pt x="230" y="847"/>
                  </a:cubicBezTo>
                  <a:cubicBezTo>
                    <a:pt x="231" y="847"/>
                    <a:pt x="233" y="847"/>
                    <a:pt x="234" y="846"/>
                  </a:cubicBezTo>
                  <a:cubicBezTo>
                    <a:pt x="235" y="845"/>
                    <a:pt x="235" y="843"/>
                    <a:pt x="235" y="842"/>
                  </a:cubicBezTo>
                  <a:cubicBezTo>
                    <a:pt x="235" y="833"/>
                    <a:pt x="235" y="825"/>
                    <a:pt x="235" y="816"/>
                  </a:cubicBezTo>
                  <a:cubicBezTo>
                    <a:pt x="235" y="767"/>
                    <a:pt x="235" y="718"/>
                    <a:pt x="235" y="668"/>
                  </a:cubicBezTo>
                  <a:cubicBezTo>
                    <a:pt x="235" y="649"/>
                    <a:pt x="235" y="630"/>
                    <a:pt x="235" y="610"/>
                  </a:cubicBezTo>
                  <a:cubicBezTo>
                    <a:pt x="235" y="603"/>
                    <a:pt x="235" y="603"/>
                    <a:pt x="235" y="603"/>
                  </a:cubicBezTo>
                  <a:cubicBezTo>
                    <a:pt x="235" y="600"/>
                    <a:pt x="235" y="596"/>
                    <a:pt x="235" y="593"/>
                  </a:cubicBezTo>
                  <a:cubicBezTo>
                    <a:pt x="236" y="587"/>
                    <a:pt x="236" y="581"/>
                    <a:pt x="238" y="575"/>
                  </a:cubicBezTo>
                  <a:cubicBezTo>
                    <a:pt x="240" y="563"/>
                    <a:pt x="244" y="551"/>
                    <a:pt x="249" y="540"/>
                  </a:cubicBezTo>
                  <a:cubicBezTo>
                    <a:pt x="260" y="518"/>
                    <a:pt x="276" y="499"/>
                    <a:pt x="296" y="484"/>
                  </a:cubicBezTo>
                  <a:cubicBezTo>
                    <a:pt x="316" y="470"/>
                    <a:pt x="339" y="460"/>
                    <a:pt x="364" y="457"/>
                  </a:cubicBezTo>
                  <a:cubicBezTo>
                    <a:pt x="370" y="456"/>
                    <a:pt x="377" y="456"/>
                    <a:pt x="383" y="456"/>
                  </a:cubicBezTo>
                  <a:cubicBezTo>
                    <a:pt x="388" y="456"/>
                    <a:pt x="394" y="456"/>
                    <a:pt x="400" y="457"/>
                  </a:cubicBezTo>
                  <a:cubicBezTo>
                    <a:pt x="411" y="457"/>
                    <a:pt x="422" y="459"/>
                    <a:pt x="433" y="462"/>
                  </a:cubicBezTo>
                  <a:cubicBezTo>
                    <a:pt x="455" y="466"/>
                    <a:pt x="476" y="474"/>
                    <a:pt x="496" y="484"/>
                  </a:cubicBezTo>
                  <a:cubicBezTo>
                    <a:pt x="535" y="504"/>
                    <a:pt x="569" y="530"/>
                    <a:pt x="599" y="557"/>
                  </a:cubicBezTo>
                  <a:cubicBezTo>
                    <a:pt x="615" y="571"/>
                    <a:pt x="629" y="585"/>
                    <a:pt x="644" y="598"/>
                  </a:cubicBezTo>
                  <a:cubicBezTo>
                    <a:pt x="665" y="619"/>
                    <a:pt x="665" y="619"/>
                    <a:pt x="665" y="619"/>
                  </a:cubicBezTo>
                  <a:cubicBezTo>
                    <a:pt x="676" y="628"/>
                    <a:pt x="676" y="628"/>
                    <a:pt x="676" y="628"/>
                  </a:cubicBezTo>
                  <a:cubicBezTo>
                    <a:pt x="687" y="638"/>
                    <a:pt x="687" y="638"/>
                    <a:pt x="687" y="638"/>
                  </a:cubicBezTo>
                  <a:cubicBezTo>
                    <a:pt x="717" y="665"/>
                    <a:pt x="746" y="692"/>
                    <a:pt x="775" y="718"/>
                  </a:cubicBezTo>
                  <a:cubicBezTo>
                    <a:pt x="790" y="730"/>
                    <a:pt x="804" y="742"/>
                    <a:pt x="819" y="753"/>
                  </a:cubicBezTo>
                  <a:cubicBezTo>
                    <a:pt x="834" y="763"/>
                    <a:pt x="849" y="772"/>
                    <a:pt x="865" y="779"/>
                  </a:cubicBezTo>
                  <a:cubicBezTo>
                    <a:pt x="881" y="786"/>
                    <a:pt x="896" y="790"/>
                    <a:pt x="912" y="791"/>
                  </a:cubicBezTo>
                  <a:cubicBezTo>
                    <a:pt x="928" y="792"/>
                    <a:pt x="944" y="790"/>
                    <a:pt x="959" y="785"/>
                  </a:cubicBezTo>
                  <a:cubicBezTo>
                    <a:pt x="979" y="779"/>
                    <a:pt x="997" y="768"/>
                    <a:pt x="1015" y="756"/>
                  </a:cubicBezTo>
                  <a:cubicBezTo>
                    <a:pt x="1033" y="744"/>
                    <a:pt x="1051" y="730"/>
                    <a:pt x="1067" y="716"/>
                  </a:cubicBezTo>
                  <a:cubicBezTo>
                    <a:pt x="1084" y="702"/>
                    <a:pt x="1101" y="687"/>
                    <a:pt x="1117" y="673"/>
                  </a:cubicBezTo>
                  <a:cubicBezTo>
                    <a:pt x="1125" y="665"/>
                    <a:pt x="1133" y="658"/>
                    <a:pt x="1141" y="651"/>
                  </a:cubicBezTo>
                  <a:cubicBezTo>
                    <a:pt x="1149" y="644"/>
                    <a:pt x="1157" y="637"/>
                    <a:pt x="1165" y="630"/>
                  </a:cubicBezTo>
                  <a:cubicBezTo>
                    <a:pt x="1196" y="603"/>
                    <a:pt x="1226" y="574"/>
                    <a:pt x="1257" y="548"/>
                  </a:cubicBezTo>
                  <a:cubicBezTo>
                    <a:pt x="1289" y="522"/>
                    <a:pt x="1323" y="499"/>
                    <a:pt x="1360" y="483"/>
                  </a:cubicBezTo>
                  <a:cubicBezTo>
                    <a:pt x="1384" y="473"/>
                    <a:pt x="1410" y="466"/>
                    <a:pt x="1437" y="464"/>
                  </a:cubicBezTo>
                  <a:cubicBezTo>
                    <a:pt x="1443" y="464"/>
                    <a:pt x="1450" y="464"/>
                    <a:pt x="1456" y="464"/>
                  </a:cubicBezTo>
                  <a:cubicBezTo>
                    <a:pt x="1464" y="464"/>
                    <a:pt x="1471" y="465"/>
                    <a:pt x="1478" y="466"/>
                  </a:cubicBezTo>
                  <a:cubicBezTo>
                    <a:pt x="1491" y="468"/>
                    <a:pt x="1505" y="472"/>
                    <a:pt x="1517" y="479"/>
                  </a:cubicBezTo>
                  <a:cubicBezTo>
                    <a:pt x="1541" y="491"/>
                    <a:pt x="1561" y="511"/>
                    <a:pt x="1574" y="534"/>
                  </a:cubicBezTo>
                  <a:cubicBezTo>
                    <a:pt x="1581" y="545"/>
                    <a:pt x="1586" y="557"/>
                    <a:pt x="1589" y="569"/>
                  </a:cubicBezTo>
                  <a:cubicBezTo>
                    <a:pt x="1590" y="576"/>
                    <a:pt x="1591" y="582"/>
                    <a:pt x="1592" y="588"/>
                  </a:cubicBezTo>
                  <a:cubicBezTo>
                    <a:pt x="1592" y="591"/>
                    <a:pt x="1593" y="594"/>
                    <a:pt x="1593" y="597"/>
                  </a:cubicBezTo>
                  <a:cubicBezTo>
                    <a:pt x="1593" y="600"/>
                    <a:pt x="1593" y="604"/>
                    <a:pt x="1593" y="606"/>
                  </a:cubicBezTo>
                  <a:cubicBezTo>
                    <a:pt x="1592" y="648"/>
                    <a:pt x="1592" y="688"/>
                    <a:pt x="1591" y="726"/>
                  </a:cubicBezTo>
                  <a:cubicBezTo>
                    <a:pt x="1591" y="736"/>
                    <a:pt x="1591" y="745"/>
                    <a:pt x="1591" y="754"/>
                  </a:cubicBezTo>
                  <a:cubicBezTo>
                    <a:pt x="1591" y="762"/>
                    <a:pt x="1592" y="770"/>
                    <a:pt x="1594" y="777"/>
                  </a:cubicBezTo>
                  <a:cubicBezTo>
                    <a:pt x="1599" y="791"/>
                    <a:pt x="1608" y="805"/>
                    <a:pt x="1618" y="816"/>
                  </a:cubicBezTo>
                  <a:cubicBezTo>
                    <a:pt x="1634" y="832"/>
                    <a:pt x="1653" y="844"/>
                    <a:pt x="1671" y="852"/>
                  </a:cubicBezTo>
                  <a:cubicBezTo>
                    <a:pt x="1681" y="856"/>
                    <a:pt x="1690" y="859"/>
                    <a:pt x="1700" y="861"/>
                  </a:cubicBezTo>
                  <a:cubicBezTo>
                    <a:pt x="1705" y="862"/>
                    <a:pt x="1709" y="863"/>
                    <a:pt x="1714" y="864"/>
                  </a:cubicBezTo>
                  <a:cubicBezTo>
                    <a:pt x="1716" y="864"/>
                    <a:pt x="1719" y="864"/>
                    <a:pt x="1721" y="864"/>
                  </a:cubicBezTo>
                  <a:cubicBezTo>
                    <a:pt x="1723" y="865"/>
                    <a:pt x="1725" y="865"/>
                    <a:pt x="1728" y="865"/>
                  </a:cubicBezTo>
                  <a:cubicBezTo>
                    <a:pt x="1734" y="865"/>
                    <a:pt x="1740" y="865"/>
                    <a:pt x="1745" y="865"/>
                  </a:cubicBezTo>
                  <a:cubicBezTo>
                    <a:pt x="1752" y="865"/>
                    <a:pt x="1759" y="865"/>
                    <a:pt x="1765" y="865"/>
                  </a:cubicBezTo>
                  <a:cubicBezTo>
                    <a:pt x="1768" y="865"/>
                    <a:pt x="1770" y="865"/>
                    <a:pt x="1772" y="865"/>
                  </a:cubicBezTo>
                  <a:cubicBezTo>
                    <a:pt x="1775" y="864"/>
                    <a:pt x="1777" y="864"/>
                    <a:pt x="1779" y="864"/>
                  </a:cubicBezTo>
                  <a:cubicBezTo>
                    <a:pt x="1782" y="864"/>
                    <a:pt x="1784" y="864"/>
                    <a:pt x="1786" y="863"/>
                  </a:cubicBezTo>
                  <a:cubicBezTo>
                    <a:pt x="1788" y="863"/>
                    <a:pt x="1790" y="861"/>
                    <a:pt x="1791" y="859"/>
                  </a:cubicBezTo>
                  <a:cubicBezTo>
                    <a:pt x="1794" y="856"/>
                    <a:pt x="1794" y="851"/>
                    <a:pt x="1794" y="847"/>
                  </a:cubicBezTo>
                  <a:cubicBezTo>
                    <a:pt x="1794" y="845"/>
                    <a:pt x="1794" y="843"/>
                    <a:pt x="1794" y="841"/>
                  </a:cubicBezTo>
                  <a:cubicBezTo>
                    <a:pt x="1794" y="840"/>
                    <a:pt x="1795" y="839"/>
                    <a:pt x="1795" y="838"/>
                  </a:cubicBezTo>
                  <a:cubicBezTo>
                    <a:pt x="1795" y="837"/>
                    <a:pt x="1795" y="836"/>
                    <a:pt x="1795" y="835"/>
                  </a:cubicBezTo>
                  <a:cubicBezTo>
                    <a:pt x="1795" y="832"/>
                    <a:pt x="1795" y="830"/>
                    <a:pt x="1795" y="827"/>
                  </a:cubicBezTo>
                  <a:cubicBezTo>
                    <a:pt x="1796" y="822"/>
                    <a:pt x="1796" y="817"/>
                    <a:pt x="1796" y="811"/>
                  </a:cubicBezTo>
                  <a:cubicBezTo>
                    <a:pt x="1797" y="801"/>
                    <a:pt x="1797" y="790"/>
                    <a:pt x="1798" y="780"/>
                  </a:cubicBezTo>
                  <a:cubicBezTo>
                    <a:pt x="1799" y="761"/>
                    <a:pt x="1800" y="744"/>
                    <a:pt x="1801" y="739"/>
                  </a:cubicBezTo>
                  <a:cubicBezTo>
                    <a:pt x="1802" y="735"/>
                    <a:pt x="1803" y="738"/>
                    <a:pt x="1803" y="732"/>
                  </a:cubicBezTo>
                  <a:cubicBezTo>
                    <a:pt x="1805" y="723"/>
                    <a:pt x="1806" y="740"/>
                    <a:pt x="1808" y="778"/>
                  </a:cubicBezTo>
                  <a:cubicBezTo>
                    <a:pt x="1808" y="787"/>
                    <a:pt x="1809" y="797"/>
                    <a:pt x="1809" y="808"/>
                  </a:cubicBezTo>
                  <a:cubicBezTo>
                    <a:pt x="1809" y="813"/>
                    <a:pt x="1809" y="819"/>
                    <a:pt x="1809" y="824"/>
                  </a:cubicBezTo>
                  <a:cubicBezTo>
                    <a:pt x="1809" y="827"/>
                    <a:pt x="1810" y="830"/>
                    <a:pt x="1810" y="833"/>
                  </a:cubicBezTo>
                  <a:cubicBezTo>
                    <a:pt x="1810" y="836"/>
                    <a:pt x="1810" y="840"/>
                    <a:pt x="1810" y="843"/>
                  </a:cubicBezTo>
                  <a:cubicBezTo>
                    <a:pt x="1810" y="850"/>
                    <a:pt x="1811" y="858"/>
                    <a:pt x="1809" y="86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3" name="Freeform 19">
              <a:extLst>
                <a:ext uri="{FF2B5EF4-FFF2-40B4-BE49-F238E27FC236}">
                  <a16:creationId xmlns:a16="http://schemas.microsoft.com/office/drawing/2014/main" id="{DEFAFCDE-D21F-416B-BD59-0E0658E972F0}"/>
                </a:ext>
              </a:extLst>
            </p:cNvPr>
            <p:cNvSpPr>
              <a:spLocks noEditPoints="1"/>
            </p:cNvSpPr>
            <p:nvPr>
              <p:custDataLst>
                <p:tags r:id="rId4"/>
              </p:custDataLst>
            </p:nvPr>
          </p:nvSpPr>
          <p:spPr bwMode="gray">
            <a:xfrm>
              <a:off x="2679701" y="1730376"/>
              <a:ext cx="6788150" cy="3400425"/>
            </a:xfrm>
            <a:custGeom>
              <a:avLst/>
              <a:gdLst>
                <a:gd name="T0" fmla="*/ 1791 w 1807"/>
                <a:gd name="T1" fmla="*/ 831 h 904"/>
                <a:gd name="T2" fmla="*/ 1724 w 1807"/>
                <a:gd name="T3" fmla="*/ 861 h 904"/>
                <a:gd name="T4" fmla="*/ 1589 w 1807"/>
                <a:gd name="T5" fmla="*/ 593 h 904"/>
                <a:gd name="T6" fmla="*/ 1161 w 1807"/>
                <a:gd name="T7" fmla="*/ 626 h 904"/>
                <a:gd name="T8" fmla="*/ 683 w 1807"/>
                <a:gd name="T9" fmla="*/ 634 h 904"/>
                <a:gd name="T10" fmla="*/ 292 w 1807"/>
                <a:gd name="T11" fmla="*/ 480 h 904"/>
                <a:gd name="T12" fmla="*/ 226 w 1807"/>
                <a:gd name="T13" fmla="*/ 843 h 904"/>
                <a:gd name="T14" fmla="*/ 60 w 1807"/>
                <a:gd name="T15" fmla="*/ 756 h 904"/>
                <a:gd name="T16" fmla="*/ 213 w 1807"/>
                <a:gd name="T17" fmla="*/ 54 h 904"/>
                <a:gd name="T18" fmla="*/ 531 w 1807"/>
                <a:gd name="T19" fmla="*/ 282 h 904"/>
                <a:gd name="T20" fmla="*/ 1292 w 1807"/>
                <a:gd name="T21" fmla="*/ 272 h 904"/>
                <a:gd name="T22" fmla="*/ 1233 w 1807"/>
                <a:gd name="T23" fmla="*/ 293 h 904"/>
                <a:gd name="T24" fmla="*/ 216 w 1807"/>
                <a:gd name="T25" fmla="*/ 1 h 904"/>
                <a:gd name="T26" fmla="*/ 77 w 1807"/>
                <a:gd name="T27" fmla="*/ 873 h 904"/>
                <a:gd name="T28" fmla="*/ 275 w 1807"/>
                <a:gd name="T29" fmla="*/ 889 h 904"/>
                <a:gd name="T30" fmla="*/ 291 w 1807"/>
                <a:gd name="T31" fmla="*/ 600 h 904"/>
                <a:gd name="T32" fmla="*/ 555 w 1807"/>
                <a:gd name="T33" fmla="*/ 596 h 904"/>
                <a:gd name="T34" fmla="*/ 1114 w 1807"/>
                <a:gd name="T35" fmla="*/ 739 h 904"/>
                <a:gd name="T36" fmla="*/ 1474 w 1807"/>
                <a:gd name="T37" fmla="*/ 505 h 904"/>
                <a:gd name="T38" fmla="*/ 1584 w 1807"/>
                <a:gd name="T39" fmla="*/ 819 h 904"/>
                <a:gd name="T40" fmla="*/ 1805 w 1807"/>
                <a:gd name="T41" fmla="*/ 861 h 904"/>
                <a:gd name="T42" fmla="*/ 1565 w 1807"/>
                <a:gd name="T43" fmla="*/ 743 h 904"/>
                <a:gd name="T44" fmla="*/ 1448 w 1807"/>
                <a:gd name="T45" fmla="*/ 494 h 904"/>
                <a:gd name="T46" fmla="*/ 910 w 1807"/>
                <a:gd name="T47" fmla="*/ 836 h 904"/>
                <a:gd name="T48" fmla="*/ 411 w 1807"/>
                <a:gd name="T49" fmla="*/ 510 h 904"/>
                <a:gd name="T50" fmla="*/ 286 w 1807"/>
                <a:gd name="T51" fmla="*/ 648 h 904"/>
                <a:gd name="T52" fmla="*/ 271 w 1807"/>
                <a:gd name="T53" fmla="*/ 887 h 904"/>
                <a:gd name="T54" fmla="*/ 29 w 1807"/>
                <a:gd name="T55" fmla="*/ 822 h 904"/>
                <a:gd name="T56" fmla="*/ 46 w 1807"/>
                <a:gd name="T57" fmla="*/ 4 h 904"/>
                <a:gd name="T58" fmla="*/ 380 w 1807"/>
                <a:gd name="T59" fmla="*/ 78 h 904"/>
                <a:gd name="T60" fmla="*/ 741 w 1807"/>
                <a:gd name="T61" fmla="*/ 370 h 904"/>
                <a:gd name="T62" fmla="*/ 875 w 1807"/>
                <a:gd name="T63" fmla="*/ 430 h 904"/>
                <a:gd name="T64" fmla="*/ 375 w 1807"/>
                <a:gd name="T65" fmla="*/ 127 h 904"/>
                <a:gd name="T66" fmla="*/ 52 w 1807"/>
                <a:gd name="T67" fmla="*/ 60 h 904"/>
                <a:gd name="T68" fmla="*/ 175 w 1807"/>
                <a:gd name="T69" fmla="*/ 849 h 904"/>
                <a:gd name="T70" fmla="*/ 235 w 1807"/>
                <a:gd name="T71" fmla="*/ 837 h 904"/>
                <a:gd name="T72" fmla="*/ 412 w 1807"/>
                <a:gd name="T73" fmla="*/ 457 h 904"/>
                <a:gd name="T74" fmla="*/ 914 w 1807"/>
                <a:gd name="T75" fmla="*/ 790 h 904"/>
                <a:gd name="T76" fmla="*/ 1387 w 1807"/>
                <a:gd name="T77" fmla="*/ 472 h 904"/>
                <a:gd name="T78" fmla="*/ 1606 w 1807"/>
                <a:gd name="T79" fmla="*/ 809 h 904"/>
                <a:gd name="T80" fmla="*/ 107 w 1807"/>
                <a:gd name="T81" fmla="*/ 862 h 904"/>
                <a:gd name="T82" fmla="*/ 22 w 1807"/>
                <a:gd name="T83" fmla="*/ 48 h 904"/>
                <a:gd name="T84" fmla="*/ 397 w 1807"/>
                <a:gd name="T85" fmla="*/ 113 h 904"/>
                <a:gd name="T86" fmla="*/ 192 w 1807"/>
                <a:gd name="T87" fmla="*/ 34 h 904"/>
                <a:gd name="T88" fmla="*/ 41 w 1807"/>
                <a:gd name="T89" fmla="*/ 760 h 904"/>
                <a:gd name="T90" fmla="*/ 253 w 1807"/>
                <a:gd name="T91" fmla="*/ 852 h 904"/>
                <a:gd name="T92" fmla="*/ 262 w 1807"/>
                <a:gd name="T93" fmla="*/ 863 h 904"/>
                <a:gd name="T94" fmla="*/ 296 w 1807"/>
                <a:gd name="T95" fmla="*/ 497 h 904"/>
                <a:gd name="T96" fmla="*/ 239 w 1807"/>
                <a:gd name="T97" fmla="*/ 854 h 904"/>
                <a:gd name="T98" fmla="*/ 114 w 1807"/>
                <a:gd name="T99" fmla="*/ 840 h 904"/>
                <a:gd name="T100" fmla="*/ 218 w 1807"/>
                <a:gd name="T101" fmla="*/ 39 h 904"/>
                <a:gd name="T102" fmla="*/ 552 w 1807"/>
                <a:gd name="T103" fmla="*/ 280 h 904"/>
                <a:gd name="T104" fmla="*/ 569 w 1807"/>
                <a:gd name="T105" fmla="*/ 272 h 904"/>
                <a:gd name="T106" fmla="*/ 212 w 1807"/>
                <a:gd name="T107" fmla="*/ 14 h 904"/>
                <a:gd name="T108" fmla="*/ 16 w 1807"/>
                <a:gd name="T109" fmla="*/ 730 h 904"/>
                <a:gd name="T110" fmla="*/ 187 w 1807"/>
                <a:gd name="T111" fmla="*/ 887 h 904"/>
                <a:gd name="T112" fmla="*/ 274 w 1807"/>
                <a:gd name="T113" fmla="*/ 830 h 904"/>
                <a:gd name="T114" fmla="*/ 519 w 1807"/>
                <a:gd name="T115" fmla="*/ 53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7" h="904">
                  <a:moveTo>
                    <a:pt x="1806" y="829"/>
                  </a:moveTo>
                  <a:cubicBezTo>
                    <a:pt x="1806" y="826"/>
                    <a:pt x="1805" y="823"/>
                    <a:pt x="1805" y="820"/>
                  </a:cubicBezTo>
                  <a:cubicBezTo>
                    <a:pt x="1805" y="815"/>
                    <a:pt x="1805" y="809"/>
                    <a:pt x="1805" y="804"/>
                  </a:cubicBezTo>
                  <a:cubicBezTo>
                    <a:pt x="1805" y="793"/>
                    <a:pt x="1804" y="783"/>
                    <a:pt x="1804" y="774"/>
                  </a:cubicBezTo>
                  <a:cubicBezTo>
                    <a:pt x="1802" y="736"/>
                    <a:pt x="1801" y="719"/>
                    <a:pt x="1799" y="728"/>
                  </a:cubicBezTo>
                  <a:cubicBezTo>
                    <a:pt x="1799" y="734"/>
                    <a:pt x="1798" y="731"/>
                    <a:pt x="1797" y="735"/>
                  </a:cubicBezTo>
                  <a:cubicBezTo>
                    <a:pt x="1796" y="740"/>
                    <a:pt x="1795" y="757"/>
                    <a:pt x="1794" y="776"/>
                  </a:cubicBezTo>
                  <a:cubicBezTo>
                    <a:pt x="1793" y="786"/>
                    <a:pt x="1793" y="797"/>
                    <a:pt x="1792" y="807"/>
                  </a:cubicBezTo>
                  <a:cubicBezTo>
                    <a:pt x="1792" y="813"/>
                    <a:pt x="1792" y="818"/>
                    <a:pt x="1791" y="823"/>
                  </a:cubicBezTo>
                  <a:cubicBezTo>
                    <a:pt x="1791" y="826"/>
                    <a:pt x="1791" y="828"/>
                    <a:pt x="1791" y="831"/>
                  </a:cubicBezTo>
                  <a:cubicBezTo>
                    <a:pt x="1791" y="832"/>
                    <a:pt x="1791" y="833"/>
                    <a:pt x="1791" y="834"/>
                  </a:cubicBezTo>
                  <a:cubicBezTo>
                    <a:pt x="1791" y="835"/>
                    <a:pt x="1790" y="836"/>
                    <a:pt x="1790" y="837"/>
                  </a:cubicBezTo>
                  <a:cubicBezTo>
                    <a:pt x="1790" y="839"/>
                    <a:pt x="1790" y="841"/>
                    <a:pt x="1790" y="843"/>
                  </a:cubicBezTo>
                  <a:cubicBezTo>
                    <a:pt x="1790" y="847"/>
                    <a:pt x="1790" y="852"/>
                    <a:pt x="1787" y="855"/>
                  </a:cubicBezTo>
                  <a:cubicBezTo>
                    <a:pt x="1786" y="857"/>
                    <a:pt x="1784" y="859"/>
                    <a:pt x="1782" y="859"/>
                  </a:cubicBezTo>
                  <a:cubicBezTo>
                    <a:pt x="1780" y="860"/>
                    <a:pt x="1778" y="860"/>
                    <a:pt x="1775" y="860"/>
                  </a:cubicBezTo>
                  <a:cubicBezTo>
                    <a:pt x="1773" y="860"/>
                    <a:pt x="1771" y="860"/>
                    <a:pt x="1768" y="861"/>
                  </a:cubicBezTo>
                  <a:cubicBezTo>
                    <a:pt x="1766" y="861"/>
                    <a:pt x="1764" y="861"/>
                    <a:pt x="1761" y="861"/>
                  </a:cubicBezTo>
                  <a:cubicBezTo>
                    <a:pt x="1755" y="861"/>
                    <a:pt x="1748" y="861"/>
                    <a:pt x="1741" y="861"/>
                  </a:cubicBezTo>
                  <a:cubicBezTo>
                    <a:pt x="1736" y="861"/>
                    <a:pt x="1730" y="861"/>
                    <a:pt x="1724" y="861"/>
                  </a:cubicBezTo>
                  <a:cubicBezTo>
                    <a:pt x="1721" y="861"/>
                    <a:pt x="1719" y="861"/>
                    <a:pt x="1717" y="860"/>
                  </a:cubicBezTo>
                  <a:cubicBezTo>
                    <a:pt x="1715" y="860"/>
                    <a:pt x="1712" y="860"/>
                    <a:pt x="1710" y="860"/>
                  </a:cubicBezTo>
                  <a:cubicBezTo>
                    <a:pt x="1705" y="859"/>
                    <a:pt x="1701" y="858"/>
                    <a:pt x="1696" y="857"/>
                  </a:cubicBezTo>
                  <a:cubicBezTo>
                    <a:pt x="1686" y="855"/>
                    <a:pt x="1677" y="852"/>
                    <a:pt x="1667" y="848"/>
                  </a:cubicBezTo>
                  <a:cubicBezTo>
                    <a:pt x="1649" y="840"/>
                    <a:pt x="1630" y="828"/>
                    <a:pt x="1614" y="812"/>
                  </a:cubicBezTo>
                  <a:cubicBezTo>
                    <a:pt x="1604" y="801"/>
                    <a:pt x="1595" y="787"/>
                    <a:pt x="1590" y="773"/>
                  </a:cubicBezTo>
                  <a:cubicBezTo>
                    <a:pt x="1588" y="766"/>
                    <a:pt x="1587" y="758"/>
                    <a:pt x="1587" y="750"/>
                  </a:cubicBezTo>
                  <a:cubicBezTo>
                    <a:pt x="1587" y="741"/>
                    <a:pt x="1587" y="732"/>
                    <a:pt x="1587" y="722"/>
                  </a:cubicBezTo>
                  <a:cubicBezTo>
                    <a:pt x="1588" y="684"/>
                    <a:pt x="1588" y="644"/>
                    <a:pt x="1589" y="602"/>
                  </a:cubicBezTo>
                  <a:cubicBezTo>
                    <a:pt x="1589" y="600"/>
                    <a:pt x="1589" y="596"/>
                    <a:pt x="1589" y="593"/>
                  </a:cubicBezTo>
                  <a:cubicBezTo>
                    <a:pt x="1589" y="590"/>
                    <a:pt x="1588" y="587"/>
                    <a:pt x="1588" y="584"/>
                  </a:cubicBezTo>
                  <a:cubicBezTo>
                    <a:pt x="1587" y="578"/>
                    <a:pt x="1586" y="572"/>
                    <a:pt x="1585" y="565"/>
                  </a:cubicBezTo>
                  <a:cubicBezTo>
                    <a:pt x="1582" y="553"/>
                    <a:pt x="1577" y="541"/>
                    <a:pt x="1570" y="530"/>
                  </a:cubicBezTo>
                  <a:cubicBezTo>
                    <a:pt x="1557" y="507"/>
                    <a:pt x="1537" y="487"/>
                    <a:pt x="1513" y="475"/>
                  </a:cubicBezTo>
                  <a:cubicBezTo>
                    <a:pt x="1501" y="468"/>
                    <a:pt x="1487" y="464"/>
                    <a:pt x="1474" y="462"/>
                  </a:cubicBezTo>
                  <a:cubicBezTo>
                    <a:pt x="1467" y="461"/>
                    <a:pt x="1460" y="460"/>
                    <a:pt x="1452" y="460"/>
                  </a:cubicBezTo>
                  <a:cubicBezTo>
                    <a:pt x="1446" y="460"/>
                    <a:pt x="1439" y="460"/>
                    <a:pt x="1433" y="460"/>
                  </a:cubicBezTo>
                  <a:cubicBezTo>
                    <a:pt x="1406" y="462"/>
                    <a:pt x="1380" y="469"/>
                    <a:pt x="1356" y="479"/>
                  </a:cubicBezTo>
                  <a:cubicBezTo>
                    <a:pt x="1319" y="495"/>
                    <a:pt x="1285" y="518"/>
                    <a:pt x="1253" y="544"/>
                  </a:cubicBezTo>
                  <a:cubicBezTo>
                    <a:pt x="1222" y="570"/>
                    <a:pt x="1192" y="599"/>
                    <a:pt x="1161" y="626"/>
                  </a:cubicBezTo>
                  <a:cubicBezTo>
                    <a:pt x="1153" y="633"/>
                    <a:pt x="1145" y="640"/>
                    <a:pt x="1137" y="647"/>
                  </a:cubicBezTo>
                  <a:cubicBezTo>
                    <a:pt x="1129" y="654"/>
                    <a:pt x="1121" y="661"/>
                    <a:pt x="1113" y="669"/>
                  </a:cubicBezTo>
                  <a:cubicBezTo>
                    <a:pt x="1097" y="683"/>
                    <a:pt x="1080" y="698"/>
                    <a:pt x="1063" y="712"/>
                  </a:cubicBezTo>
                  <a:cubicBezTo>
                    <a:pt x="1047" y="726"/>
                    <a:pt x="1029" y="740"/>
                    <a:pt x="1011" y="752"/>
                  </a:cubicBezTo>
                  <a:cubicBezTo>
                    <a:pt x="993" y="764"/>
                    <a:pt x="975" y="775"/>
                    <a:pt x="955" y="781"/>
                  </a:cubicBezTo>
                  <a:cubicBezTo>
                    <a:pt x="940" y="786"/>
                    <a:pt x="924" y="788"/>
                    <a:pt x="908" y="787"/>
                  </a:cubicBezTo>
                  <a:cubicBezTo>
                    <a:pt x="892" y="786"/>
                    <a:pt x="877" y="782"/>
                    <a:pt x="861" y="775"/>
                  </a:cubicBezTo>
                  <a:cubicBezTo>
                    <a:pt x="845" y="768"/>
                    <a:pt x="830" y="759"/>
                    <a:pt x="815" y="749"/>
                  </a:cubicBezTo>
                  <a:cubicBezTo>
                    <a:pt x="800" y="738"/>
                    <a:pt x="786" y="726"/>
                    <a:pt x="771" y="714"/>
                  </a:cubicBezTo>
                  <a:cubicBezTo>
                    <a:pt x="742" y="688"/>
                    <a:pt x="713" y="661"/>
                    <a:pt x="683" y="634"/>
                  </a:cubicBezTo>
                  <a:cubicBezTo>
                    <a:pt x="672" y="624"/>
                    <a:pt x="672" y="624"/>
                    <a:pt x="672" y="624"/>
                  </a:cubicBezTo>
                  <a:cubicBezTo>
                    <a:pt x="661" y="615"/>
                    <a:pt x="661" y="615"/>
                    <a:pt x="661" y="615"/>
                  </a:cubicBezTo>
                  <a:cubicBezTo>
                    <a:pt x="640" y="594"/>
                    <a:pt x="640" y="594"/>
                    <a:pt x="640" y="594"/>
                  </a:cubicBezTo>
                  <a:cubicBezTo>
                    <a:pt x="625" y="581"/>
                    <a:pt x="611" y="567"/>
                    <a:pt x="595" y="553"/>
                  </a:cubicBezTo>
                  <a:cubicBezTo>
                    <a:pt x="565" y="526"/>
                    <a:pt x="531" y="500"/>
                    <a:pt x="492" y="480"/>
                  </a:cubicBezTo>
                  <a:cubicBezTo>
                    <a:pt x="472" y="470"/>
                    <a:pt x="451" y="462"/>
                    <a:pt x="429" y="458"/>
                  </a:cubicBezTo>
                  <a:cubicBezTo>
                    <a:pt x="418" y="455"/>
                    <a:pt x="407" y="453"/>
                    <a:pt x="396" y="453"/>
                  </a:cubicBezTo>
                  <a:cubicBezTo>
                    <a:pt x="390" y="452"/>
                    <a:pt x="384" y="452"/>
                    <a:pt x="379" y="452"/>
                  </a:cubicBezTo>
                  <a:cubicBezTo>
                    <a:pt x="373" y="452"/>
                    <a:pt x="366" y="452"/>
                    <a:pt x="360" y="453"/>
                  </a:cubicBezTo>
                  <a:cubicBezTo>
                    <a:pt x="335" y="456"/>
                    <a:pt x="312" y="466"/>
                    <a:pt x="292" y="480"/>
                  </a:cubicBezTo>
                  <a:cubicBezTo>
                    <a:pt x="272" y="495"/>
                    <a:pt x="256" y="514"/>
                    <a:pt x="245" y="536"/>
                  </a:cubicBezTo>
                  <a:cubicBezTo>
                    <a:pt x="240" y="547"/>
                    <a:pt x="236" y="559"/>
                    <a:pt x="234" y="571"/>
                  </a:cubicBezTo>
                  <a:cubicBezTo>
                    <a:pt x="232" y="577"/>
                    <a:pt x="232" y="583"/>
                    <a:pt x="231" y="589"/>
                  </a:cubicBezTo>
                  <a:cubicBezTo>
                    <a:pt x="231" y="592"/>
                    <a:pt x="231" y="596"/>
                    <a:pt x="231" y="599"/>
                  </a:cubicBezTo>
                  <a:cubicBezTo>
                    <a:pt x="231" y="606"/>
                    <a:pt x="231" y="606"/>
                    <a:pt x="231" y="606"/>
                  </a:cubicBezTo>
                  <a:cubicBezTo>
                    <a:pt x="231" y="626"/>
                    <a:pt x="231" y="645"/>
                    <a:pt x="231" y="664"/>
                  </a:cubicBezTo>
                  <a:cubicBezTo>
                    <a:pt x="231" y="714"/>
                    <a:pt x="231" y="763"/>
                    <a:pt x="231" y="812"/>
                  </a:cubicBezTo>
                  <a:cubicBezTo>
                    <a:pt x="231" y="821"/>
                    <a:pt x="231" y="829"/>
                    <a:pt x="231" y="838"/>
                  </a:cubicBezTo>
                  <a:cubicBezTo>
                    <a:pt x="231" y="839"/>
                    <a:pt x="231" y="841"/>
                    <a:pt x="230" y="842"/>
                  </a:cubicBezTo>
                  <a:cubicBezTo>
                    <a:pt x="229" y="843"/>
                    <a:pt x="227" y="843"/>
                    <a:pt x="226" y="843"/>
                  </a:cubicBezTo>
                  <a:cubicBezTo>
                    <a:pt x="223" y="843"/>
                    <a:pt x="223" y="843"/>
                    <a:pt x="223" y="843"/>
                  </a:cubicBezTo>
                  <a:cubicBezTo>
                    <a:pt x="218" y="844"/>
                    <a:pt x="218" y="844"/>
                    <a:pt x="218" y="844"/>
                  </a:cubicBezTo>
                  <a:cubicBezTo>
                    <a:pt x="212" y="844"/>
                    <a:pt x="206" y="844"/>
                    <a:pt x="200" y="844"/>
                  </a:cubicBezTo>
                  <a:cubicBezTo>
                    <a:pt x="182" y="844"/>
                    <a:pt x="182" y="844"/>
                    <a:pt x="182" y="844"/>
                  </a:cubicBezTo>
                  <a:cubicBezTo>
                    <a:pt x="178" y="844"/>
                    <a:pt x="178" y="844"/>
                    <a:pt x="178" y="844"/>
                  </a:cubicBezTo>
                  <a:cubicBezTo>
                    <a:pt x="177" y="844"/>
                    <a:pt x="175" y="844"/>
                    <a:pt x="174" y="844"/>
                  </a:cubicBezTo>
                  <a:cubicBezTo>
                    <a:pt x="172" y="844"/>
                    <a:pt x="169" y="844"/>
                    <a:pt x="167" y="844"/>
                  </a:cubicBezTo>
                  <a:cubicBezTo>
                    <a:pt x="147" y="841"/>
                    <a:pt x="127" y="834"/>
                    <a:pt x="109" y="823"/>
                  </a:cubicBezTo>
                  <a:cubicBezTo>
                    <a:pt x="92" y="812"/>
                    <a:pt x="77" y="798"/>
                    <a:pt x="68" y="781"/>
                  </a:cubicBezTo>
                  <a:cubicBezTo>
                    <a:pt x="64" y="773"/>
                    <a:pt x="61" y="765"/>
                    <a:pt x="60" y="756"/>
                  </a:cubicBezTo>
                  <a:cubicBezTo>
                    <a:pt x="59" y="754"/>
                    <a:pt x="59" y="752"/>
                    <a:pt x="59" y="750"/>
                  </a:cubicBezTo>
                  <a:cubicBezTo>
                    <a:pt x="59" y="741"/>
                    <a:pt x="59" y="741"/>
                    <a:pt x="59" y="741"/>
                  </a:cubicBezTo>
                  <a:cubicBezTo>
                    <a:pt x="59" y="723"/>
                    <a:pt x="59" y="723"/>
                    <a:pt x="59" y="723"/>
                  </a:cubicBezTo>
                  <a:cubicBezTo>
                    <a:pt x="59" y="698"/>
                    <a:pt x="59" y="673"/>
                    <a:pt x="59" y="648"/>
                  </a:cubicBezTo>
                  <a:cubicBezTo>
                    <a:pt x="59" y="452"/>
                    <a:pt x="59" y="71"/>
                    <a:pt x="59" y="63"/>
                  </a:cubicBezTo>
                  <a:cubicBezTo>
                    <a:pt x="59" y="55"/>
                    <a:pt x="62" y="55"/>
                    <a:pt x="67" y="55"/>
                  </a:cubicBezTo>
                  <a:cubicBezTo>
                    <a:pt x="71" y="55"/>
                    <a:pt x="115" y="54"/>
                    <a:pt x="139" y="54"/>
                  </a:cubicBezTo>
                  <a:cubicBezTo>
                    <a:pt x="157" y="54"/>
                    <a:pt x="175" y="54"/>
                    <a:pt x="193" y="54"/>
                  </a:cubicBezTo>
                  <a:cubicBezTo>
                    <a:pt x="206" y="54"/>
                    <a:pt x="206" y="54"/>
                    <a:pt x="206" y="54"/>
                  </a:cubicBezTo>
                  <a:cubicBezTo>
                    <a:pt x="213" y="54"/>
                    <a:pt x="213" y="54"/>
                    <a:pt x="213" y="54"/>
                  </a:cubicBezTo>
                  <a:cubicBezTo>
                    <a:pt x="218" y="54"/>
                    <a:pt x="218" y="54"/>
                    <a:pt x="218" y="54"/>
                  </a:cubicBezTo>
                  <a:cubicBezTo>
                    <a:pt x="226" y="55"/>
                    <a:pt x="234" y="56"/>
                    <a:pt x="242" y="57"/>
                  </a:cubicBezTo>
                  <a:cubicBezTo>
                    <a:pt x="272" y="62"/>
                    <a:pt x="302" y="75"/>
                    <a:pt x="326" y="93"/>
                  </a:cubicBezTo>
                  <a:cubicBezTo>
                    <a:pt x="330" y="96"/>
                    <a:pt x="333" y="98"/>
                    <a:pt x="336" y="101"/>
                  </a:cubicBezTo>
                  <a:cubicBezTo>
                    <a:pt x="339" y="103"/>
                    <a:pt x="341" y="105"/>
                    <a:pt x="344" y="109"/>
                  </a:cubicBezTo>
                  <a:cubicBezTo>
                    <a:pt x="351" y="115"/>
                    <a:pt x="357" y="121"/>
                    <a:pt x="364" y="126"/>
                  </a:cubicBezTo>
                  <a:cubicBezTo>
                    <a:pt x="377" y="138"/>
                    <a:pt x="389" y="150"/>
                    <a:pt x="402" y="162"/>
                  </a:cubicBezTo>
                  <a:cubicBezTo>
                    <a:pt x="427" y="185"/>
                    <a:pt x="452" y="209"/>
                    <a:pt x="477" y="231"/>
                  </a:cubicBezTo>
                  <a:cubicBezTo>
                    <a:pt x="489" y="243"/>
                    <a:pt x="501" y="254"/>
                    <a:pt x="513" y="265"/>
                  </a:cubicBezTo>
                  <a:cubicBezTo>
                    <a:pt x="519" y="271"/>
                    <a:pt x="525" y="276"/>
                    <a:pt x="531" y="282"/>
                  </a:cubicBezTo>
                  <a:cubicBezTo>
                    <a:pt x="534" y="284"/>
                    <a:pt x="537" y="287"/>
                    <a:pt x="540" y="289"/>
                  </a:cubicBezTo>
                  <a:cubicBezTo>
                    <a:pt x="543" y="292"/>
                    <a:pt x="546" y="295"/>
                    <a:pt x="549" y="298"/>
                  </a:cubicBezTo>
                  <a:cubicBezTo>
                    <a:pt x="573" y="321"/>
                    <a:pt x="600" y="341"/>
                    <a:pt x="627" y="358"/>
                  </a:cubicBezTo>
                  <a:cubicBezTo>
                    <a:pt x="681" y="391"/>
                    <a:pt x="737" y="412"/>
                    <a:pt x="789" y="423"/>
                  </a:cubicBezTo>
                  <a:cubicBezTo>
                    <a:pt x="834" y="433"/>
                    <a:pt x="878" y="437"/>
                    <a:pt x="921" y="436"/>
                  </a:cubicBezTo>
                  <a:cubicBezTo>
                    <a:pt x="963" y="435"/>
                    <a:pt x="1005" y="429"/>
                    <a:pt x="1044" y="419"/>
                  </a:cubicBezTo>
                  <a:cubicBezTo>
                    <a:pt x="1086" y="409"/>
                    <a:pt x="1124" y="394"/>
                    <a:pt x="1157" y="377"/>
                  </a:cubicBezTo>
                  <a:cubicBezTo>
                    <a:pt x="1190" y="359"/>
                    <a:pt x="1217" y="340"/>
                    <a:pt x="1239" y="322"/>
                  </a:cubicBezTo>
                  <a:cubicBezTo>
                    <a:pt x="1250" y="313"/>
                    <a:pt x="1260" y="304"/>
                    <a:pt x="1269" y="295"/>
                  </a:cubicBezTo>
                  <a:cubicBezTo>
                    <a:pt x="1277" y="287"/>
                    <a:pt x="1285" y="279"/>
                    <a:pt x="1292" y="272"/>
                  </a:cubicBezTo>
                  <a:cubicBezTo>
                    <a:pt x="1305" y="258"/>
                    <a:pt x="1315" y="248"/>
                    <a:pt x="1322" y="241"/>
                  </a:cubicBezTo>
                  <a:cubicBezTo>
                    <a:pt x="1338" y="224"/>
                    <a:pt x="1351" y="210"/>
                    <a:pt x="1361" y="200"/>
                  </a:cubicBezTo>
                  <a:cubicBezTo>
                    <a:pt x="1362" y="198"/>
                    <a:pt x="1363" y="197"/>
                    <a:pt x="1364" y="196"/>
                  </a:cubicBezTo>
                  <a:cubicBezTo>
                    <a:pt x="1373" y="187"/>
                    <a:pt x="1378" y="180"/>
                    <a:pt x="1380" y="177"/>
                  </a:cubicBezTo>
                  <a:cubicBezTo>
                    <a:pt x="1383" y="173"/>
                    <a:pt x="1383" y="171"/>
                    <a:pt x="1379" y="174"/>
                  </a:cubicBezTo>
                  <a:cubicBezTo>
                    <a:pt x="1374" y="176"/>
                    <a:pt x="1369" y="180"/>
                    <a:pt x="1360" y="187"/>
                  </a:cubicBezTo>
                  <a:cubicBezTo>
                    <a:pt x="1348" y="196"/>
                    <a:pt x="1332" y="209"/>
                    <a:pt x="1312" y="226"/>
                  </a:cubicBezTo>
                  <a:cubicBezTo>
                    <a:pt x="1301" y="235"/>
                    <a:pt x="1290" y="245"/>
                    <a:pt x="1277" y="256"/>
                  </a:cubicBezTo>
                  <a:cubicBezTo>
                    <a:pt x="1270" y="262"/>
                    <a:pt x="1263" y="268"/>
                    <a:pt x="1256" y="274"/>
                  </a:cubicBezTo>
                  <a:cubicBezTo>
                    <a:pt x="1249" y="281"/>
                    <a:pt x="1241" y="287"/>
                    <a:pt x="1233" y="293"/>
                  </a:cubicBezTo>
                  <a:cubicBezTo>
                    <a:pt x="1200" y="319"/>
                    <a:pt x="1157" y="346"/>
                    <a:pt x="1101" y="366"/>
                  </a:cubicBezTo>
                  <a:cubicBezTo>
                    <a:pt x="1045" y="386"/>
                    <a:pt x="976" y="400"/>
                    <a:pt x="896" y="396"/>
                  </a:cubicBezTo>
                  <a:cubicBezTo>
                    <a:pt x="883" y="394"/>
                    <a:pt x="857" y="393"/>
                    <a:pt x="822" y="386"/>
                  </a:cubicBezTo>
                  <a:cubicBezTo>
                    <a:pt x="788" y="379"/>
                    <a:pt x="744" y="367"/>
                    <a:pt x="700" y="346"/>
                  </a:cubicBezTo>
                  <a:cubicBezTo>
                    <a:pt x="678" y="335"/>
                    <a:pt x="656" y="322"/>
                    <a:pt x="635" y="307"/>
                  </a:cubicBezTo>
                  <a:cubicBezTo>
                    <a:pt x="613" y="292"/>
                    <a:pt x="593" y="275"/>
                    <a:pt x="574" y="256"/>
                  </a:cubicBezTo>
                  <a:cubicBezTo>
                    <a:pt x="533" y="218"/>
                    <a:pt x="493" y="179"/>
                    <a:pt x="456" y="144"/>
                  </a:cubicBezTo>
                  <a:cubicBezTo>
                    <a:pt x="430" y="119"/>
                    <a:pt x="403" y="94"/>
                    <a:pt x="377" y="69"/>
                  </a:cubicBezTo>
                  <a:cubicBezTo>
                    <a:pt x="348" y="42"/>
                    <a:pt x="313" y="21"/>
                    <a:pt x="274" y="11"/>
                  </a:cubicBezTo>
                  <a:cubicBezTo>
                    <a:pt x="255" y="5"/>
                    <a:pt x="236" y="2"/>
                    <a:pt x="216" y="1"/>
                  </a:cubicBezTo>
                  <a:cubicBezTo>
                    <a:pt x="198" y="1"/>
                    <a:pt x="180" y="1"/>
                    <a:pt x="162" y="1"/>
                  </a:cubicBezTo>
                  <a:cubicBezTo>
                    <a:pt x="123" y="1"/>
                    <a:pt x="75" y="0"/>
                    <a:pt x="44" y="0"/>
                  </a:cubicBezTo>
                  <a:cubicBezTo>
                    <a:pt x="13" y="0"/>
                    <a:pt x="4" y="18"/>
                    <a:pt x="4" y="40"/>
                  </a:cubicBezTo>
                  <a:cubicBezTo>
                    <a:pt x="4" y="62"/>
                    <a:pt x="3" y="147"/>
                    <a:pt x="3" y="202"/>
                  </a:cubicBezTo>
                  <a:cubicBezTo>
                    <a:pt x="2" y="288"/>
                    <a:pt x="2" y="374"/>
                    <a:pt x="1" y="463"/>
                  </a:cubicBezTo>
                  <a:cubicBezTo>
                    <a:pt x="1" y="550"/>
                    <a:pt x="1" y="640"/>
                    <a:pt x="0" y="732"/>
                  </a:cubicBezTo>
                  <a:cubicBezTo>
                    <a:pt x="0" y="738"/>
                    <a:pt x="0" y="743"/>
                    <a:pt x="0" y="749"/>
                  </a:cubicBezTo>
                  <a:cubicBezTo>
                    <a:pt x="0" y="757"/>
                    <a:pt x="1" y="765"/>
                    <a:pt x="3" y="772"/>
                  </a:cubicBezTo>
                  <a:cubicBezTo>
                    <a:pt x="5" y="787"/>
                    <a:pt x="11" y="801"/>
                    <a:pt x="18" y="814"/>
                  </a:cubicBezTo>
                  <a:cubicBezTo>
                    <a:pt x="33" y="839"/>
                    <a:pt x="54" y="858"/>
                    <a:pt x="77" y="873"/>
                  </a:cubicBezTo>
                  <a:cubicBezTo>
                    <a:pt x="100" y="887"/>
                    <a:pt x="126" y="897"/>
                    <a:pt x="153" y="902"/>
                  </a:cubicBezTo>
                  <a:cubicBezTo>
                    <a:pt x="160" y="903"/>
                    <a:pt x="167" y="903"/>
                    <a:pt x="175" y="904"/>
                  </a:cubicBezTo>
                  <a:cubicBezTo>
                    <a:pt x="184" y="904"/>
                    <a:pt x="184" y="904"/>
                    <a:pt x="184" y="904"/>
                  </a:cubicBezTo>
                  <a:cubicBezTo>
                    <a:pt x="193" y="904"/>
                    <a:pt x="193" y="904"/>
                    <a:pt x="193" y="904"/>
                  </a:cubicBezTo>
                  <a:cubicBezTo>
                    <a:pt x="199" y="904"/>
                    <a:pt x="205" y="904"/>
                    <a:pt x="211" y="903"/>
                  </a:cubicBezTo>
                  <a:cubicBezTo>
                    <a:pt x="221" y="903"/>
                    <a:pt x="221" y="903"/>
                    <a:pt x="221" y="903"/>
                  </a:cubicBezTo>
                  <a:cubicBezTo>
                    <a:pt x="226" y="903"/>
                    <a:pt x="226" y="903"/>
                    <a:pt x="226" y="903"/>
                  </a:cubicBezTo>
                  <a:cubicBezTo>
                    <a:pt x="228" y="903"/>
                    <a:pt x="231" y="903"/>
                    <a:pt x="233" y="902"/>
                  </a:cubicBezTo>
                  <a:cubicBezTo>
                    <a:pt x="244" y="901"/>
                    <a:pt x="254" y="900"/>
                    <a:pt x="263" y="897"/>
                  </a:cubicBezTo>
                  <a:cubicBezTo>
                    <a:pt x="267" y="895"/>
                    <a:pt x="271" y="892"/>
                    <a:pt x="275" y="889"/>
                  </a:cubicBezTo>
                  <a:cubicBezTo>
                    <a:pt x="279" y="886"/>
                    <a:pt x="282" y="882"/>
                    <a:pt x="284" y="878"/>
                  </a:cubicBezTo>
                  <a:cubicBezTo>
                    <a:pt x="286" y="874"/>
                    <a:pt x="288" y="870"/>
                    <a:pt x="289" y="865"/>
                  </a:cubicBezTo>
                  <a:cubicBezTo>
                    <a:pt x="290" y="863"/>
                    <a:pt x="290" y="860"/>
                    <a:pt x="290" y="858"/>
                  </a:cubicBezTo>
                  <a:cubicBezTo>
                    <a:pt x="290" y="855"/>
                    <a:pt x="290" y="853"/>
                    <a:pt x="290" y="850"/>
                  </a:cubicBezTo>
                  <a:cubicBezTo>
                    <a:pt x="291" y="835"/>
                    <a:pt x="291" y="835"/>
                    <a:pt x="291" y="835"/>
                  </a:cubicBezTo>
                  <a:cubicBezTo>
                    <a:pt x="291" y="825"/>
                    <a:pt x="291" y="825"/>
                    <a:pt x="291" y="825"/>
                  </a:cubicBezTo>
                  <a:cubicBezTo>
                    <a:pt x="291" y="802"/>
                    <a:pt x="291" y="778"/>
                    <a:pt x="291" y="755"/>
                  </a:cubicBezTo>
                  <a:cubicBezTo>
                    <a:pt x="291" y="707"/>
                    <a:pt x="291" y="660"/>
                    <a:pt x="291" y="613"/>
                  </a:cubicBezTo>
                  <a:cubicBezTo>
                    <a:pt x="291" y="604"/>
                    <a:pt x="291" y="604"/>
                    <a:pt x="291" y="604"/>
                  </a:cubicBezTo>
                  <a:cubicBezTo>
                    <a:pt x="291" y="600"/>
                    <a:pt x="291" y="600"/>
                    <a:pt x="291" y="600"/>
                  </a:cubicBezTo>
                  <a:cubicBezTo>
                    <a:pt x="291" y="599"/>
                    <a:pt x="291" y="598"/>
                    <a:pt x="291" y="596"/>
                  </a:cubicBezTo>
                  <a:cubicBezTo>
                    <a:pt x="291" y="592"/>
                    <a:pt x="292" y="588"/>
                    <a:pt x="292" y="583"/>
                  </a:cubicBezTo>
                  <a:cubicBezTo>
                    <a:pt x="294" y="575"/>
                    <a:pt x="297" y="566"/>
                    <a:pt x="301" y="559"/>
                  </a:cubicBezTo>
                  <a:cubicBezTo>
                    <a:pt x="309" y="543"/>
                    <a:pt x="323" y="530"/>
                    <a:pt x="338" y="522"/>
                  </a:cubicBezTo>
                  <a:cubicBezTo>
                    <a:pt x="346" y="518"/>
                    <a:pt x="354" y="515"/>
                    <a:pt x="362" y="513"/>
                  </a:cubicBezTo>
                  <a:cubicBezTo>
                    <a:pt x="366" y="512"/>
                    <a:pt x="371" y="512"/>
                    <a:pt x="375" y="512"/>
                  </a:cubicBezTo>
                  <a:cubicBezTo>
                    <a:pt x="377" y="512"/>
                    <a:pt x="380" y="512"/>
                    <a:pt x="382" y="512"/>
                  </a:cubicBezTo>
                  <a:cubicBezTo>
                    <a:pt x="385" y="512"/>
                    <a:pt x="387" y="512"/>
                    <a:pt x="390" y="512"/>
                  </a:cubicBezTo>
                  <a:cubicBezTo>
                    <a:pt x="410" y="514"/>
                    <a:pt x="429" y="518"/>
                    <a:pt x="448" y="526"/>
                  </a:cubicBezTo>
                  <a:cubicBezTo>
                    <a:pt x="486" y="541"/>
                    <a:pt x="521" y="567"/>
                    <a:pt x="555" y="596"/>
                  </a:cubicBezTo>
                  <a:cubicBezTo>
                    <a:pt x="571" y="611"/>
                    <a:pt x="588" y="626"/>
                    <a:pt x="604" y="641"/>
                  </a:cubicBezTo>
                  <a:cubicBezTo>
                    <a:pt x="612" y="649"/>
                    <a:pt x="621" y="657"/>
                    <a:pt x="629" y="665"/>
                  </a:cubicBezTo>
                  <a:cubicBezTo>
                    <a:pt x="638" y="672"/>
                    <a:pt x="646" y="679"/>
                    <a:pt x="654" y="687"/>
                  </a:cubicBezTo>
                  <a:cubicBezTo>
                    <a:pt x="688" y="716"/>
                    <a:pt x="720" y="747"/>
                    <a:pt x="755" y="775"/>
                  </a:cubicBezTo>
                  <a:cubicBezTo>
                    <a:pt x="773" y="789"/>
                    <a:pt x="792" y="802"/>
                    <a:pt x="812" y="814"/>
                  </a:cubicBezTo>
                  <a:cubicBezTo>
                    <a:pt x="832" y="825"/>
                    <a:pt x="855" y="835"/>
                    <a:pt x="879" y="839"/>
                  </a:cubicBezTo>
                  <a:cubicBezTo>
                    <a:pt x="903" y="844"/>
                    <a:pt x="929" y="844"/>
                    <a:pt x="952" y="839"/>
                  </a:cubicBezTo>
                  <a:cubicBezTo>
                    <a:pt x="976" y="834"/>
                    <a:pt x="997" y="824"/>
                    <a:pt x="1016" y="814"/>
                  </a:cubicBezTo>
                  <a:cubicBezTo>
                    <a:pt x="1035" y="803"/>
                    <a:pt x="1052" y="790"/>
                    <a:pt x="1068" y="778"/>
                  </a:cubicBezTo>
                  <a:cubicBezTo>
                    <a:pt x="1084" y="765"/>
                    <a:pt x="1099" y="752"/>
                    <a:pt x="1114" y="739"/>
                  </a:cubicBezTo>
                  <a:cubicBezTo>
                    <a:pt x="1128" y="726"/>
                    <a:pt x="1142" y="713"/>
                    <a:pt x="1155" y="701"/>
                  </a:cubicBezTo>
                  <a:cubicBezTo>
                    <a:pt x="1162" y="694"/>
                    <a:pt x="1169" y="688"/>
                    <a:pt x="1176" y="682"/>
                  </a:cubicBezTo>
                  <a:cubicBezTo>
                    <a:pt x="1182" y="676"/>
                    <a:pt x="1189" y="670"/>
                    <a:pt x="1196" y="664"/>
                  </a:cubicBezTo>
                  <a:cubicBezTo>
                    <a:pt x="1223" y="639"/>
                    <a:pt x="1247" y="615"/>
                    <a:pt x="1271" y="593"/>
                  </a:cubicBezTo>
                  <a:cubicBezTo>
                    <a:pt x="1294" y="573"/>
                    <a:pt x="1316" y="554"/>
                    <a:pt x="1340" y="540"/>
                  </a:cubicBezTo>
                  <a:cubicBezTo>
                    <a:pt x="1363" y="525"/>
                    <a:pt x="1386" y="515"/>
                    <a:pt x="1410" y="509"/>
                  </a:cubicBezTo>
                  <a:cubicBezTo>
                    <a:pt x="1421" y="506"/>
                    <a:pt x="1433" y="504"/>
                    <a:pt x="1444" y="503"/>
                  </a:cubicBezTo>
                  <a:cubicBezTo>
                    <a:pt x="1446" y="503"/>
                    <a:pt x="1449" y="503"/>
                    <a:pt x="1452" y="503"/>
                  </a:cubicBezTo>
                  <a:cubicBezTo>
                    <a:pt x="1455" y="503"/>
                    <a:pt x="1457" y="503"/>
                    <a:pt x="1460" y="503"/>
                  </a:cubicBezTo>
                  <a:cubicBezTo>
                    <a:pt x="1464" y="503"/>
                    <a:pt x="1469" y="504"/>
                    <a:pt x="1474" y="505"/>
                  </a:cubicBezTo>
                  <a:cubicBezTo>
                    <a:pt x="1493" y="509"/>
                    <a:pt x="1509" y="519"/>
                    <a:pt x="1522" y="531"/>
                  </a:cubicBezTo>
                  <a:cubicBezTo>
                    <a:pt x="1535" y="544"/>
                    <a:pt x="1543" y="559"/>
                    <a:pt x="1548" y="574"/>
                  </a:cubicBezTo>
                  <a:cubicBezTo>
                    <a:pt x="1550" y="582"/>
                    <a:pt x="1551" y="590"/>
                    <a:pt x="1552" y="598"/>
                  </a:cubicBezTo>
                  <a:cubicBezTo>
                    <a:pt x="1552" y="607"/>
                    <a:pt x="1552" y="616"/>
                    <a:pt x="1552" y="624"/>
                  </a:cubicBezTo>
                  <a:cubicBezTo>
                    <a:pt x="1553" y="659"/>
                    <a:pt x="1554" y="692"/>
                    <a:pt x="1555" y="724"/>
                  </a:cubicBezTo>
                  <a:cubicBezTo>
                    <a:pt x="1555" y="732"/>
                    <a:pt x="1556" y="739"/>
                    <a:pt x="1556" y="747"/>
                  </a:cubicBezTo>
                  <a:cubicBezTo>
                    <a:pt x="1556" y="749"/>
                    <a:pt x="1556" y="752"/>
                    <a:pt x="1556" y="754"/>
                  </a:cubicBezTo>
                  <a:cubicBezTo>
                    <a:pt x="1556" y="756"/>
                    <a:pt x="1556" y="758"/>
                    <a:pt x="1557" y="761"/>
                  </a:cubicBezTo>
                  <a:cubicBezTo>
                    <a:pt x="1557" y="765"/>
                    <a:pt x="1558" y="769"/>
                    <a:pt x="1559" y="774"/>
                  </a:cubicBezTo>
                  <a:cubicBezTo>
                    <a:pt x="1564" y="791"/>
                    <a:pt x="1573" y="806"/>
                    <a:pt x="1584" y="819"/>
                  </a:cubicBezTo>
                  <a:cubicBezTo>
                    <a:pt x="1602" y="841"/>
                    <a:pt x="1628" y="858"/>
                    <a:pt x="1656" y="869"/>
                  </a:cubicBezTo>
                  <a:cubicBezTo>
                    <a:pt x="1670" y="875"/>
                    <a:pt x="1685" y="879"/>
                    <a:pt x="1700" y="881"/>
                  </a:cubicBezTo>
                  <a:cubicBezTo>
                    <a:pt x="1708" y="882"/>
                    <a:pt x="1716" y="882"/>
                    <a:pt x="1723" y="882"/>
                  </a:cubicBezTo>
                  <a:cubicBezTo>
                    <a:pt x="1731" y="882"/>
                    <a:pt x="1738" y="881"/>
                    <a:pt x="1745" y="881"/>
                  </a:cubicBezTo>
                  <a:cubicBezTo>
                    <a:pt x="1749" y="881"/>
                    <a:pt x="1752" y="881"/>
                    <a:pt x="1756" y="880"/>
                  </a:cubicBezTo>
                  <a:cubicBezTo>
                    <a:pt x="1759" y="880"/>
                    <a:pt x="1763" y="880"/>
                    <a:pt x="1767" y="880"/>
                  </a:cubicBezTo>
                  <a:cubicBezTo>
                    <a:pt x="1775" y="879"/>
                    <a:pt x="1783" y="878"/>
                    <a:pt x="1790" y="876"/>
                  </a:cubicBezTo>
                  <a:cubicBezTo>
                    <a:pt x="1792" y="875"/>
                    <a:pt x="1794" y="875"/>
                    <a:pt x="1795" y="874"/>
                  </a:cubicBezTo>
                  <a:cubicBezTo>
                    <a:pt x="1797" y="873"/>
                    <a:pt x="1799" y="872"/>
                    <a:pt x="1800" y="870"/>
                  </a:cubicBezTo>
                  <a:cubicBezTo>
                    <a:pt x="1803" y="868"/>
                    <a:pt x="1804" y="864"/>
                    <a:pt x="1805" y="861"/>
                  </a:cubicBezTo>
                  <a:cubicBezTo>
                    <a:pt x="1807" y="854"/>
                    <a:pt x="1806" y="846"/>
                    <a:pt x="1806" y="839"/>
                  </a:cubicBezTo>
                  <a:cubicBezTo>
                    <a:pt x="1806" y="836"/>
                    <a:pt x="1806" y="832"/>
                    <a:pt x="1806" y="829"/>
                  </a:cubicBezTo>
                  <a:close/>
                  <a:moveTo>
                    <a:pt x="1637" y="843"/>
                  </a:moveTo>
                  <a:cubicBezTo>
                    <a:pt x="1633" y="842"/>
                    <a:pt x="1627" y="839"/>
                    <a:pt x="1619" y="834"/>
                  </a:cubicBezTo>
                  <a:cubicBezTo>
                    <a:pt x="1611" y="829"/>
                    <a:pt x="1602" y="822"/>
                    <a:pt x="1592" y="811"/>
                  </a:cubicBezTo>
                  <a:cubicBezTo>
                    <a:pt x="1585" y="803"/>
                    <a:pt x="1579" y="794"/>
                    <a:pt x="1573" y="783"/>
                  </a:cubicBezTo>
                  <a:cubicBezTo>
                    <a:pt x="1571" y="777"/>
                    <a:pt x="1569" y="771"/>
                    <a:pt x="1567" y="765"/>
                  </a:cubicBezTo>
                  <a:cubicBezTo>
                    <a:pt x="1566" y="761"/>
                    <a:pt x="1566" y="758"/>
                    <a:pt x="1566" y="754"/>
                  </a:cubicBezTo>
                  <a:cubicBezTo>
                    <a:pt x="1565" y="752"/>
                    <a:pt x="1565" y="750"/>
                    <a:pt x="1565" y="749"/>
                  </a:cubicBezTo>
                  <a:cubicBezTo>
                    <a:pt x="1565" y="747"/>
                    <a:pt x="1565" y="745"/>
                    <a:pt x="1565" y="743"/>
                  </a:cubicBezTo>
                  <a:cubicBezTo>
                    <a:pt x="1564" y="720"/>
                    <a:pt x="1563" y="693"/>
                    <a:pt x="1562" y="663"/>
                  </a:cubicBezTo>
                  <a:cubicBezTo>
                    <a:pt x="1562" y="648"/>
                    <a:pt x="1562" y="632"/>
                    <a:pt x="1561" y="615"/>
                  </a:cubicBezTo>
                  <a:cubicBezTo>
                    <a:pt x="1561" y="611"/>
                    <a:pt x="1561" y="607"/>
                    <a:pt x="1561" y="602"/>
                  </a:cubicBezTo>
                  <a:cubicBezTo>
                    <a:pt x="1561" y="600"/>
                    <a:pt x="1561" y="598"/>
                    <a:pt x="1561" y="596"/>
                  </a:cubicBezTo>
                  <a:cubicBezTo>
                    <a:pt x="1560" y="594"/>
                    <a:pt x="1560" y="592"/>
                    <a:pt x="1560" y="590"/>
                  </a:cubicBezTo>
                  <a:cubicBezTo>
                    <a:pt x="1559" y="582"/>
                    <a:pt x="1557" y="574"/>
                    <a:pt x="1554" y="566"/>
                  </a:cubicBezTo>
                  <a:cubicBezTo>
                    <a:pt x="1549" y="550"/>
                    <a:pt x="1539" y="535"/>
                    <a:pt x="1526" y="523"/>
                  </a:cubicBezTo>
                  <a:cubicBezTo>
                    <a:pt x="1513" y="510"/>
                    <a:pt x="1496" y="501"/>
                    <a:pt x="1477" y="497"/>
                  </a:cubicBezTo>
                  <a:cubicBezTo>
                    <a:pt x="1472" y="496"/>
                    <a:pt x="1468" y="495"/>
                    <a:pt x="1463" y="495"/>
                  </a:cubicBezTo>
                  <a:cubicBezTo>
                    <a:pt x="1458" y="494"/>
                    <a:pt x="1453" y="494"/>
                    <a:pt x="1448" y="494"/>
                  </a:cubicBezTo>
                  <a:cubicBezTo>
                    <a:pt x="1438" y="495"/>
                    <a:pt x="1427" y="496"/>
                    <a:pt x="1417" y="498"/>
                  </a:cubicBezTo>
                  <a:cubicBezTo>
                    <a:pt x="1396" y="503"/>
                    <a:pt x="1375" y="510"/>
                    <a:pt x="1355" y="521"/>
                  </a:cubicBezTo>
                  <a:cubicBezTo>
                    <a:pt x="1335" y="532"/>
                    <a:pt x="1315" y="546"/>
                    <a:pt x="1296" y="561"/>
                  </a:cubicBezTo>
                  <a:cubicBezTo>
                    <a:pt x="1276" y="576"/>
                    <a:pt x="1258" y="594"/>
                    <a:pt x="1239" y="612"/>
                  </a:cubicBezTo>
                  <a:cubicBezTo>
                    <a:pt x="1220" y="630"/>
                    <a:pt x="1200" y="649"/>
                    <a:pt x="1179" y="668"/>
                  </a:cubicBezTo>
                  <a:cubicBezTo>
                    <a:pt x="1159" y="687"/>
                    <a:pt x="1138" y="706"/>
                    <a:pt x="1117" y="726"/>
                  </a:cubicBezTo>
                  <a:cubicBezTo>
                    <a:pt x="1095" y="745"/>
                    <a:pt x="1073" y="765"/>
                    <a:pt x="1048" y="784"/>
                  </a:cubicBezTo>
                  <a:cubicBezTo>
                    <a:pt x="1036" y="793"/>
                    <a:pt x="1022" y="802"/>
                    <a:pt x="1008" y="810"/>
                  </a:cubicBezTo>
                  <a:cubicBezTo>
                    <a:pt x="994" y="818"/>
                    <a:pt x="978" y="824"/>
                    <a:pt x="962" y="829"/>
                  </a:cubicBezTo>
                  <a:cubicBezTo>
                    <a:pt x="945" y="834"/>
                    <a:pt x="927" y="836"/>
                    <a:pt x="910" y="836"/>
                  </a:cubicBezTo>
                  <a:cubicBezTo>
                    <a:pt x="892" y="835"/>
                    <a:pt x="874" y="832"/>
                    <a:pt x="857" y="827"/>
                  </a:cubicBezTo>
                  <a:cubicBezTo>
                    <a:pt x="840" y="821"/>
                    <a:pt x="825" y="813"/>
                    <a:pt x="810" y="805"/>
                  </a:cubicBezTo>
                  <a:cubicBezTo>
                    <a:pt x="795" y="796"/>
                    <a:pt x="781" y="786"/>
                    <a:pt x="767" y="776"/>
                  </a:cubicBezTo>
                  <a:cubicBezTo>
                    <a:pt x="741" y="756"/>
                    <a:pt x="716" y="733"/>
                    <a:pt x="691" y="711"/>
                  </a:cubicBezTo>
                  <a:cubicBezTo>
                    <a:pt x="678" y="700"/>
                    <a:pt x="666" y="689"/>
                    <a:pt x="653" y="678"/>
                  </a:cubicBezTo>
                  <a:cubicBezTo>
                    <a:pt x="647" y="672"/>
                    <a:pt x="641" y="666"/>
                    <a:pt x="634" y="661"/>
                  </a:cubicBezTo>
                  <a:cubicBezTo>
                    <a:pt x="628" y="655"/>
                    <a:pt x="621" y="649"/>
                    <a:pt x="615" y="643"/>
                  </a:cubicBezTo>
                  <a:cubicBezTo>
                    <a:pt x="590" y="620"/>
                    <a:pt x="565" y="597"/>
                    <a:pt x="539" y="576"/>
                  </a:cubicBezTo>
                  <a:cubicBezTo>
                    <a:pt x="513" y="555"/>
                    <a:pt x="486" y="536"/>
                    <a:pt x="456" y="523"/>
                  </a:cubicBezTo>
                  <a:cubicBezTo>
                    <a:pt x="442" y="517"/>
                    <a:pt x="427" y="512"/>
                    <a:pt x="411" y="510"/>
                  </a:cubicBezTo>
                  <a:cubicBezTo>
                    <a:pt x="403" y="508"/>
                    <a:pt x="396" y="507"/>
                    <a:pt x="388" y="507"/>
                  </a:cubicBezTo>
                  <a:cubicBezTo>
                    <a:pt x="384" y="507"/>
                    <a:pt x="380" y="506"/>
                    <a:pt x="376" y="507"/>
                  </a:cubicBezTo>
                  <a:cubicBezTo>
                    <a:pt x="373" y="507"/>
                    <a:pt x="369" y="507"/>
                    <a:pt x="366" y="507"/>
                  </a:cubicBezTo>
                  <a:cubicBezTo>
                    <a:pt x="352" y="509"/>
                    <a:pt x="338" y="515"/>
                    <a:pt x="327" y="523"/>
                  </a:cubicBezTo>
                  <a:cubicBezTo>
                    <a:pt x="315" y="531"/>
                    <a:pt x="305" y="542"/>
                    <a:pt x="298" y="554"/>
                  </a:cubicBezTo>
                  <a:cubicBezTo>
                    <a:pt x="291" y="567"/>
                    <a:pt x="287" y="581"/>
                    <a:pt x="286" y="595"/>
                  </a:cubicBezTo>
                  <a:cubicBezTo>
                    <a:pt x="286" y="597"/>
                    <a:pt x="286" y="598"/>
                    <a:pt x="286" y="600"/>
                  </a:cubicBezTo>
                  <a:cubicBezTo>
                    <a:pt x="286" y="607"/>
                    <a:pt x="286" y="607"/>
                    <a:pt x="286" y="607"/>
                  </a:cubicBezTo>
                  <a:cubicBezTo>
                    <a:pt x="286" y="621"/>
                    <a:pt x="286" y="621"/>
                    <a:pt x="286" y="621"/>
                  </a:cubicBezTo>
                  <a:cubicBezTo>
                    <a:pt x="286" y="630"/>
                    <a:pt x="286" y="639"/>
                    <a:pt x="286" y="648"/>
                  </a:cubicBezTo>
                  <a:cubicBezTo>
                    <a:pt x="286" y="685"/>
                    <a:pt x="286" y="722"/>
                    <a:pt x="286" y="759"/>
                  </a:cubicBezTo>
                  <a:cubicBezTo>
                    <a:pt x="286" y="777"/>
                    <a:pt x="286" y="796"/>
                    <a:pt x="286" y="814"/>
                  </a:cubicBezTo>
                  <a:cubicBezTo>
                    <a:pt x="286" y="828"/>
                    <a:pt x="286" y="828"/>
                    <a:pt x="286" y="828"/>
                  </a:cubicBezTo>
                  <a:cubicBezTo>
                    <a:pt x="286" y="832"/>
                    <a:pt x="286" y="832"/>
                    <a:pt x="286" y="832"/>
                  </a:cubicBezTo>
                  <a:cubicBezTo>
                    <a:pt x="286" y="834"/>
                    <a:pt x="286" y="834"/>
                    <a:pt x="286" y="834"/>
                  </a:cubicBezTo>
                  <a:cubicBezTo>
                    <a:pt x="286" y="837"/>
                    <a:pt x="286" y="837"/>
                    <a:pt x="286" y="837"/>
                  </a:cubicBezTo>
                  <a:cubicBezTo>
                    <a:pt x="286" y="848"/>
                    <a:pt x="286" y="848"/>
                    <a:pt x="286" y="848"/>
                  </a:cubicBezTo>
                  <a:cubicBezTo>
                    <a:pt x="286" y="852"/>
                    <a:pt x="286" y="856"/>
                    <a:pt x="285" y="859"/>
                  </a:cubicBezTo>
                  <a:cubicBezTo>
                    <a:pt x="285" y="863"/>
                    <a:pt x="284" y="866"/>
                    <a:pt x="283" y="870"/>
                  </a:cubicBezTo>
                  <a:cubicBezTo>
                    <a:pt x="281" y="876"/>
                    <a:pt x="277" y="882"/>
                    <a:pt x="271" y="887"/>
                  </a:cubicBezTo>
                  <a:cubicBezTo>
                    <a:pt x="260" y="895"/>
                    <a:pt x="244" y="897"/>
                    <a:pt x="229" y="898"/>
                  </a:cubicBezTo>
                  <a:cubicBezTo>
                    <a:pt x="220" y="899"/>
                    <a:pt x="220" y="899"/>
                    <a:pt x="220" y="899"/>
                  </a:cubicBezTo>
                  <a:cubicBezTo>
                    <a:pt x="213" y="899"/>
                    <a:pt x="213" y="899"/>
                    <a:pt x="213" y="899"/>
                  </a:cubicBezTo>
                  <a:cubicBezTo>
                    <a:pt x="208" y="899"/>
                    <a:pt x="203" y="899"/>
                    <a:pt x="198" y="899"/>
                  </a:cubicBezTo>
                  <a:cubicBezTo>
                    <a:pt x="184" y="899"/>
                    <a:pt x="184" y="899"/>
                    <a:pt x="184" y="899"/>
                  </a:cubicBezTo>
                  <a:cubicBezTo>
                    <a:pt x="176" y="899"/>
                    <a:pt x="176" y="899"/>
                    <a:pt x="176" y="899"/>
                  </a:cubicBezTo>
                  <a:cubicBezTo>
                    <a:pt x="174" y="899"/>
                    <a:pt x="171" y="899"/>
                    <a:pt x="168" y="899"/>
                  </a:cubicBezTo>
                  <a:cubicBezTo>
                    <a:pt x="157" y="898"/>
                    <a:pt x="146" y="896"/>
                    <a:pt x="136" y="893"/>
                  </a:cubicBezTo>
                  <a:cubicBezTo>
                    <a:pt x="115" y="888"/>
                    <a:pt x="95" y="879"/>
                    <a:pt x="77" y="867"/>
                  </a:cubicBezTo>
                  <a:cubicBezTo>
                    <a:pt x="59" y="856"/>
                    <a:pt x="42" y="841"/>
                    <a:pt x="29" y="822"/>
                  </a:cubicBezTo>
                  <a:cubicBezTo>
                    <a:pt x="23" y="813"/>
                    <a:pt x="17" y="803"/>
                    <a:pt x="13" y="792"/>
                  </a:cubicBezTo>
                  <a:cubicBezTo>
                    <a:pt x="9" y="781"/>
                    <a:pt x="6" y="769"/>
                    <a:pt x="5" y="757"/>
                  </a:cubicBezTo>
                  <a:cubicBezTo>
                    <a:pt x="5" y="753"/>
                    <a:pt x="5" y="753"/>
                    <a:pt x="5" y="753"/>
                  </a:cubicBezTo>
                  <a:cubicBezTo>
                    <a:pt x="5" y="748"/>
                    <a:pt x="5" y="748"/>
                    <a:pt x="5" y="748"/>
                  </a:cubicBezTo>
                  <a:cubicBezTo>
                    <a:pt x="5" y="741"/>
                    <a:pt x="5" y="741"/>
                    <a:pt x="5" y="741"/>
                  </a:cubicBezTo>
                  <a:cubicBezTo>
                    <a:pt x="5" y="727"/>
                    <a:pt x="5" y="727"/>
                    <a:pt x="5" y="727"/>
                  </a:cubicBezTo>
                  <a:cubicBezTo>
                    <a:pt x="5" y="699"/>
                    <a:pt x="5" y="699"/>
                    <a:pt x="5" y="699"/>
                  </a:cubicBezTo>
                  <a:cubicBezTo>
                    <a:pt x="5" y="548"/>
                    <a:pt x="6" y="396"/>
                    <a:pt x="7" y="247"/>
                  </a:cubicBezTo>
                  <a:cubicBezTo>
                    <a:pt x="7" y="177"/>
                    <a:pt x="8" y="57"/>
                    <a:pt x="8" y="42"/>
                  </a:cubicBezTo>
                  <a:cubicBezTo>
                    <a:pt x="8" y="27"/>
                    <a:pt x="14" y="4"/>
                    <a:pt x="46" y="4"/>
                  </a:cubicBezTo>
                  <a:cubicBezTo>
                    <a:pt x="78" y="4"/>
                    <a:pt x="124" y="5"/>
                    <a:pt x="162" y="5"/>
                  </a:cubicBezTo>
                  <a:cubicBezTo>
                    <a:pt x="180" y="5"/>
                    <a:pt x="197" y="5"/>
                    <a:pt x="214" y="5"/>
                  </a:cubicBezTo>
                  <a:cubicBezTo>
                    <a:pt x="216" y="5"/>
                    <a:pt x="218" y="5"/>
                    <a:pt x="221" y="5"/>
                  </a:cubicBezTo>
                  <a:cubicBezTo>
                    <a:pt x="223" y="6"/>
                    <a:pt x="225" y="6"/>
                    <a:pt x="228" y="6"/>
                  </a:cubicBezTo>
                  <a:cubicBezTo>
                    <a:pt x="232" y="6"/>
                    <a:pt x="237" y="7"/>
                    <a:pt x="241" y="8"/>
                  </a:cubicBezTo>
                  <a:cubicBezTo>
                    <a:pt x="250" y="9"/>
                    <a:pt x="259" y="11"/>
                    <a:pt x="268" y="13"/>
                  </a:cubicBezTo>
                  <a:cubicBezTo>
                    <a:pt x="303" y="22"/>
                    <a:pt x="335" y="39"/>
                    <a:pt x="362" y="61"/>
                  </a:cubicBezTo>
                  <a:cubicBezTo>
                    <a:pt x="365" y="63"/>
                    <a:pt x="368" y="66"/>
                    <a:pt x="371" y="69"/>
                  </a:cubicBezTo>
                  <a:cubicBezTo>
                    <a:pt x="376" y="74"/>
                    <a:pt x="376" y="74"/>
                    <a:pt x="376" y="74"/>
                  </a:cubicBezTo>
                  <a:cubicBezTo>
                    <a:pt x="380" y="78"/>
                    <a:pt x="380" y="78"/>
                    <a:pt x="380" y="78"/>
                  </a:cubicBezTo>
                  <a:cubicBezTo>
                    <a:pt x="386" y="83"/>
                    <a:pt x="392" y="88"/>
                    <a:pt x="397" y="94"/>
                  </a:cubicBezTo>
                  <a:cubicBezTo>
                    <a:pt x="409" y="105"/>
                    <a:pt x="420" y="115"/>
                    <a:pt x="431" y="126"/>
                  </a:cubicBezTo>
                  <a:cubicBezTo>
                    <a:pt x="453" y="147"/>
                    <a:pt x="474" y="168"/>
                    <a:pt x="495" y="188"/>
                  </a:cubicBezTo>
                  <a:cubicBezTo>
                    <a:pt x="516" y="208"/>
                    <a:pt x="537" y="228"/>
                    <a:pt x="557" y="247"/>
                  </a:cubicBezTo>
                  <a:cubicBezTo>
                    <a:pt x="559" y="249"/>
                    <a:pt x="562" y="252"/>
                    <a:pt x="564" y="254"/>
                  </a:cubicBezTo>
                  <a:cubicBezTo>
                    <a:pt x="568" y="258"/>
                    <a:pt x="568" y="258"/>
                    <a:pt x="568" y="258"/>
                  </a:cubicBezTo>
                  <a:cubicBezTo>
                    <a:pt x="570" y="259"/>
                    <a:pt x="571" y="260"/>
                    <a:pt x="572" y="261"/>
                  </a:cubicBezTo>
                  <a:cubicBezTo>
                    <a:pt x="577" y="266"/>
                    <a:pt x="581" y="271"/>
                    <a:pt x="586" y="275"/>
                  </a:cubicBezTo>
                  <a:cubicBezTo>
                    <a:pt x="596" y="284"/>
                    <a:pt x="606" y="292"/>
                    <a:pt x="616" y="300"/>
                  </a:cubicBezTo>
                  <a:cubicBezTo>
                    <a:pt x="656" y="331"/>
                    <a:pt x="699" y="354"/>
                    <a:pt x="741" y="370"/>
                  </a:cubicBezTo>
                  <a:cubicBezTo>
                    <a:pt x="783" y="386"/>
                    <a:pt x="825" y="395"/>
                    <a:pt x="864" y="400"/>
                  </a:cubicBezTo>
                  <a:cubicBezTo>
                    <a:pt x="903" y="404"/>
                    <a:pt x="940" y="404"/>
                    <a:pt x="972" y="401"/>
                  </a:cubicBezTo>
                  <a:cubicBezTo>
                    <a:pt x="1038" y="396"/>
                    <a:pt x="1089" y="380"/>
                    <a:pt x="1125" y="366"/>
                  </a:cubicBezTo>
                  <a:cubicBezTo>
                    <a:pt x="1148" y="357"/>
                    <a:pt x="1165" y="349"/>
                    <a:pt x="1175" y="344"/>
                  </a:cubicBezTo>
                  <a:cubicBezTo>
                    <a:pt x="1186" y="339"/>
                    <a:pt x="1191" y="338"/>
                    <a:pt x="1191" y="339"/>
                  </a:cubicBezTo>
                  <a:cubicBezTo>
                    <a:pt x="1191" y="341"/>
                    <a:pt x="1185" y="346"/>
                    <a:pt x="1175" y="353"/>
                  </a:cubicBezTo>
                  <a:cubicBezTo>
                    <a:pt x="1164" y="361"/>
                    <a:pt x="1147" y="371"/>
                    <a:pt x="1123" y="383"/>
                  </a:cubicBezTo>
                  <a:cubicBezTo>
                    <a:pt x="1117" y="386"/>
                    <a:pt x="1104" y="393"/>
                    <a:pt x="1084" y="400"/>
                  </a:cubicBezTo>
                  <a:cubicBezTo>
                    <a:pt x="1063" y="408"/>
                    <a:pt x="1035" y="417"/>
                    <a:pt x="1000" y="423"/>
                  </a:cubicBezTo>
                  <a:cubicBezTo>
                    <a:pt x="965" y="429"/>
                    <a:pt x="923" y="433"/>
                    <a:pt x="875" y="430"/>
                  </a:cubicBezTo>
                  <a:cubicBezTo>
                    <a:pt x="828" y="427"/>
                    <a:pt x="775" y="418"/>
                    <a:pt x="721" y="398"/>
                  </a:cubicBezTo>
                  <a:cubicBezTo>
                    <a:pt x="661" y="376"/>
                    <a:pt x="604" y="341"/>
                    <a:pt x="555" y="296"/>
                  </a:cubicBezTo>
                  <a:cubicBezTo>
                    <a:pt x="552" y="293"/>
                    <a:pt x="549" y="290"/>
                    <a:pt x="546" y="287"/>
                  </a:cubicBezTo>
                  <a:cubicBezTo>
                    <a:pt x="544" y="285"/>
                    <a:pt x="544" y="285"/>
                    <a:pt x="544" y="285"/>
                  </a:cubicBezTo>
                  <a:cubicBezTo>
                    <a:pt x="542" y="283"/>
                    <a:pt x="542" y="283"/>
                    <a:pt x="542" y="283"/>
                  </a:cubicBezTo>
                  <a:cubicBezTo>
                    <a:pt x="537" y="279"/>
                    <a:pt x="537" y="279"/>
                    <a:pt x="537" y="279"/>
                  </a:cubicBezTo>
                  <a:cubicBezTo>
                    <a:pt x="531" y="274"/>
                    <a:pt x="526" y="268"/>
                    <a:pt x="520" y="263"/>
                  </a:cubicBezTo>
                  <a:cubicBezTo>
                    <a:pt x="508" y="251"/>
                    <a:pt x="496" y="240"/>
                    <a:pt x="484" y="229"/>
                  </a:cubicBezTo>
                  <a:cubicBezTo>
                    <a:pt x="460" y="207"/>
                    <a:pt x="436" y="184"/>
                    <a:pt x="411" y="162"/>
                  </a:cubicBezTo>
                  <a:cubicBezTo>
                    <a:pt x="399" y="150"/>
                    <a:pt x="387" y="139"/>
                    <a:pt x="375" y="127"/>
                  </a:cubicBezTo>
                  <a:cubicBezTo>
                    <a:pt x="369" y="122"/>
                    <a:pt x="362" y="116"/>
                    <a:pt x="356" y="110"/>
                  </a:cubicBezTo>
                  <a:cubicBezTo>
                    <a:pt x="347" y="102"/>
                    <a:pt x="347" y="102"/>
                    <a:pt x="347" y="102"/>
                  </a:cubicBezTo>
                  <a:cubicBezTo>
                    <a:pt x="345" y="100"/>
                    <a:pt x="345" y="100"/>
                    <a:pt x="345" y="100"/>
                  </a:cubicBezTo>
                  <a:cubicBezTo>
                    <a:pt x="343" y="98"/>
                    <a:pt x="343" y="98"/>
                    <a:pt x="343" y="98"/>
                  </a:cubicBezTo>
                  <a:cubicBezTo>
                    <a:pt x="338" y="94"/>
                    <a:pt x="338" y="94"/>
                    <a:pt x="338" y="94"/>
                  </a:cubicBezTo>
                  <a:cubicBezTo>
                    <a:pt x="315" y="75"/>
                    <a:pt x="287" y="60"/>
                    <a:pt x="257" y="53"/>
                  </a:cubicBezTo>
                  <a:cubicBezTo>
                    <a:pt x="242" y="49"/>
                    <a:pt x="226" y="47"/>
                    <a:pt x="211" y="47"/>
                  </a:cubicBezTo>
                  <a:cubicBezTo>
                    <a:pt x="193" y="47"/>
                    <a:pt x="176" y="48"/>
                    <a:pt x="159" y="48"/>
                  </a:cubicBezTo>
                  <a:cubicBezTo>
                    <a:pt x="127" y="48"/>
                    <a:pt x="76" y="48"/>
                    <a:pt x="64" y="48"/>
                  </a:cubicBezTo>
                  <a:cubicBezTo>
                    <a:pt x="52" y="48"/>
                    <a:pt x="52" y="56"/>
                    <a:pt x="52" y="60"/>
                  </a:cubicBezTo>
                  <a:cubicBezTo>
                    <a:pt x="52" y="64"/>
                    <a:pt x="53" y="470"/>
                    <a:pt x="54" y="676"/>
                  </a:cubicBezTo>
                  <a:cubicBezTo>
                    <a:pt x="54" y="689"/>
                    <a:pt x="54" y="702"/>
                    <a:pt x="54" y="715"/>
                  </a:cubicBezTo>
                  <a:cubicBezTo>
                    <a:pt x="54" y="734"/>
                    <a:pt x="54" y="734"/>
                    <a:pt x="54" y="734"/>
                  </a:cubicBezTo>
                  <a:cubicBezTo>
                    <a:pt x="54" y="744"/>
                    <a:pt x="54" y="744"/>
                    <a:pt x="54" y="744"/>
                  </a:cubicBezTo>
                  <a:cubicBezTo>
                    <a:pt x="54" y="749"/>
                    <a:pt x="54" y="749"/>
                    <a:pt x="54" y="749"/>
                  </a:cubicBezTo>
                  <a:cubicBezTo>
                    <a:pt x="54" y="750"/>
                    <a:pt x="54" y="751"/>
                    <a:pt x="54" y="752"/>
                  </a:cubicBezTo>
                  <a:cubicBezTo>
                    <a:pt x="55" y="771"/>
                    <a:pt x="65" y="790"/>
                    <a:pt x="80" y="806"/>
                  </a:cubicBezTo>
                  <a:cubicBezTo>
                    <a:pt x="95" y="821"/>
                    <a:pt x="115" y="833"/>
                    <a:pt x="136" y="841"/>
                  </a:cubicBezTo>
                  <a:cubicBezTo>
                    <a:pt x="146" y="844"/>
                    <a:pt x="157" y="847"/>
                    <a:pt x="168" y="848"/>
                  </a:cubicBezTo>
                  <a:cubicBezTo>
                    <a:pt x="170" y="848"/>
                    <a:pt x="173" y="848"/>
                    <a:pt x="175" y="849"/>
                  </a:cubicBezTo>
                  <a:cubicBezTo>
                    <a:pt x="177" y="849"/>
                    <a:pt x="178" y="849"/>
                    <a:pt x="179" y="849"/>
                  </a:cubicBezTo>
                  <a:cubicBezTo>
                    <a:pt x="184" y="849"/>
                    <a:pt x="184" y="849"/>
                    <a:pt x="184" y="849"/>
                  </a:cubicBezTo>
                  <a:cubicBezTo>
                    <a:pt x="191" y="849"/>
                    <a:pt x="197" y="848"/>
                    <a:pt x="203" y="848"/>
                  </a:cubicBezTo>
                  <a:cubicBezTo>
                    <a:pt x="209" y="848"/>
                    <a:pt x="215" y="848"/>
                    <a:pt x="221" y="848"/>
                  </a:cubicBezTo>
                  <a:cubicBezTo>
                    <a:pt x="224" y="847"/>
                    <a:pt x="224" y="847"/>
                    <a:pt x="224" y="847"/>
                  </a:cubicBezTo>
                  <a:cubicBezTo>
                    <a:pt x="225" y="847"/>
                    <a:pt x="225" y="847"/>
                    <a:pt x="225" y="847"/>
                  </a:cubicBezTo>
                  <a:cubicBezTo>
                    <a:pt x="226" y="847"/>
                    <a:pt x="228" y="847"/>
                    <a:pt x="229" y="847"/>
                  </a:cubicBezTo>
                  <a:cubicBezTo>
                    <a:pt x="230" y="847"/>
                    <a:pt x="231" y="846"/>
                    <a:pt x="232" y="846"/>
                  </a:cubicBezTo>
                  <a:cubicBezTo>
                    <a:pt x="233" y="846"/>
                    <a:pt x="234" y="845"/>
                    <a:pt x="234" y="844"/>
                  </a:cubicBezTo>
                  <a:cubicBezTo>
                    <a:pt x="235" y="842"/>
                    <a:pt x="235" y="839"/>
                    <a:pt x="235" y="837"/>
                  </a:cubicBezTo>
                  <a:cubicBezTo>
                    <a:pt x="235" y="814"/>
                    <a:pt x="235" y="791"/>
                    <a:pt x="235" y="768"/>
                  </a:cubicBezTo>
                  <a:cubicBezTo>
                    <a:pt x="234" y="717"/>
                    <a:pt x="234" y="667"/>
                    <a:pt x="234" y="617"/>
                  </a:cubicBezTo>
                  <a:cubicBezTo>
                    <a:pt x="234" y="610"/>
                    <a:pt x="234" y="604"/>
                    <a:pt x="234" y="597"/>
                  </a:cubicBezTo>
                  <a:cubicBezTo>
                    <a:pt x="234" y="589"/>
                    <a:pt x="235" y="582"/>
                    <a:pt x="236" y="574"/>
                  </a:cubicBezTo>
                  <a:cubicBezTo>
                    <a:pt x="239" y="559"/>
                    <a:pt x="244" y="544"/>
                    <a:pt x="252" y="530"/>
                  </a:cubicBezTo>
                  <a:cubicBezTo>
                    <a:pt x="267" y="502"/>
                    <a:pt x="291" y="479"/>
                    <a:pt x="320" y="466"/>
                  </a:cubicBezTo>
                  <a:cubicBezTo>
                    <a:pt x="335" y="460"/>
                    <a:pt x="351" y="456"/>
                    <a:pt x="367" y="454"/>
                  </a:cubicBezTo>
                  <a:cubicBezTo>
                    <a:pt x="371" y="454"/>
                    <a:pt x="375" y="454"/>
                    <a:pt x="379" y="454"/>
                  </a:cubicBezTo>
                  <a:cubicBezTo>
                    <a:pt x="383" y="454"/>
                    <a:pt x="386" y="454"/>
                    <a:pt x="390" y="454"/>
                  </a:cubicBezTo>
                  <a:cubicBezTo>
                    <a:pt x="397" y="455"/>
                    <a:pt x="405" y="455"/>
                    <a:pt x="412" y="457"/>
                  </a:cubicBezTo>
                  <a:cubicBezTo>
                    <a:pt x="441" y="461"/>
                    <a:pt x="470" y="471"/>
                    <a:pt x="495" y="484"/>
                  </a:cubicBezTo>
                  <a:cubicBezTo>
                    <a:pt x="521" y="497"/>
                    <a:pt x="544" y="513"/>
                    <a:pt x="565" y="530"/>
                  </a:cubicBezTo>
                  <a:cubicBezTo>
                    <a:pt x="587" y="547"/>
                    <a:pt x="607" y="566"/>
                    <a:pt x="626" y="584"/>
                  </a:cubicBezTo>
                  <a:cubicBezTo>
                    <a:pt x="635" y="593"/>
                    <a:pt x="645" y="601"/>
                    <a:pt x="654" y="610"/>
                  </a:cubicBezTo>
                  <a:cubicBezTo>
                    <a:pt x="668" y="623"/>
                    <a:pt x="668" y="623"/>
                    <a:pt x="668" y="623"/>
                  </a:cubicBezTo>
                  <a:cubicBezTo>
                    <a:pt x="673" y="628"/>
                    <a:pt x="678" y="632"/>
                    <a:pt x="683" y="636"/>
                  </a:cubicBezTo>
                  <a:cubicBezTo>
                    <a:pt x="702" y="654"/>
                    <a:pt x="721" y="671"/>
                    <a:pt x="740" y="689"/>
                  </a:cubicBezTo>
                  <a:cubicBezTo>
                    <a:pt x="759" y="706"/>
                    <a:pt x="777" y="722"/>
                    <a:pt x="796" y="737"/>
                  </a:cubicBezTo>
                  <a:cubicBezTo>
                    <a:pt x="815" y="752"/>
                    <a:pt x="834" y="765"/>
                    <a:pt x="854" y="774"/>
                  </a:cubicBezTo>
                  <a:cubicBezTo>
                    <a:pt x="874" y="784"/>
                    <a:pt x="894" y="789"/>
                    <a:pt x="914" y="790"/>
                  </a:cubicBezTo>
                  <a:cubicBezTo>
                    <a:pt x="934" y="790"/>
                    <a:pt x="954" y="786"/>
                    <a:pt x="973" y="777"/>
                  </a:cubicBezTo>
                  <a:cubicBezTo>
                    <a:pt x="992" y="769"/>
                    <a:pt x="1010" y="758"/>
                    <a:pt x="1027" y="745"/>
                  </a:cubicBezTo>
                  <a:cubicBezTo>
                    <a:pt x="1045" y="733"/>
                    <a:pt x="1061" y="719"/>
                    <a:pt x="1077" y="705"/>
                  </a:cubicBezTo>
                  <a:cubicBezTo>
                    <a:pt x="1093" y="691"/>
                    <a:pt x="1109" y="677"/>
                    <a:pt x="1125" y="663"/>
                  </a:cubicBezTo>
                  <a:cubicBezTo>
                    <a:pt x="1132" y="657"/>
                    <a:pt x="1140" y="650"/>
                    <a:pt x="1148" y="643"/>
                  </a:cubicBezTo>
                  <a:cubicBezTo>
                    <a:pt x="1151" y="640"/>
                    <a:pt x="1155" y="637"/>
                    <a:pt x="1159" y="633"/>
                  </a:cubicBezTo>
                  <a:cubicBezTo>
                    <a:pt x="1163" y="630"/>
                    <a:pt x="1166" y="627"/>
                    <a:pt x="1170" y="624"/>
                  </a:cubicBezTo>
                  <a:cubicBezTo>
                    <a:pt x="1202" y="595"/>
                    <a:pt x="1234" y="564"/>
                    <a:pt x="1269" y="537"/>
                  </a:cubicBezTo>
                  <a:cubicBezTo>
                    <a:pt x="1287" y="523"/>
                    <a:pt x="1305" y="510"/>
                    <a:pt x="1325" y="499"/>
                  </a:cubicBezTo>
                  <a:cubicBezTo>
                    <a:pt x="1344" y="488"/>
                    <a:pt x="1365" y="479"/>
                    <a:pt x="1387" y="472"/>
                  </a:cubicBezTo>
                  <a:cubicBezTo>
                    <a:pt x="1409" y="466"/>
                    <a:pt x="1432" y="463"/>
                    <a:pt x="1455" y="463"/>
                  </a:cubicBezTo>
                  <a:cubicBezTo>
                    <a:pt x="1479" y="464"/>
                    <a:pt x="1503" y="472"/>
                    <a:pt x="1523" y="484"/>
                  </a:cubicBezTo>
                  <a:cubicBezTo>
                    <a:pt x="1543" y="497"/>
                    <a:pt x="1559" y="515"/>
                    <a:pt x="1570" y="535"/>
                  </a:cubicBezTo>
                  <a:cubicBezTo>
                    <a:pt x="1581" y="555"/>
                    <a:pt x="1586" y="578"/>
                    <a:pt x="1586" y="601"/>
                  </a:cubicBezTo>
                  <a:cubicBezTo>
                    <a:pt x="1585" y="635"/>
                    <a:pt x="1585" y="667"/>
                    <a:pt x="1584" y="697"/>
                  </a:cubicBezTo>
                  <a:cubicBezTo>
                    <a:pt x="1584" y="712"/>
                    <a:pt x="1584" y="726"/>
                    <a:pt x="1584" y="740"/>
                  </a:cubicBezTo>
                  <a:cubicBezTo>
                    <a:pt x="1584" y="743"/>
                    <a:pt x="1584" y="747"/>
                    <a:pt x="1583" y="750"/>
                  </a:cubicBezTo>
                  <a:cubicBezTo>
                    <a:pt x="1583" y="753"/>
                    <a:pt x="1584" y="755"/>
                    <a:pt x="1584" y="758"/>
                  </a:cubicBezTo>
                  <a:cubicBezTo>
                    <a:pt x="1584" y="764"/>
                    <a:pt x="1586" y="769"/>
                    <a:pt x="1587" y="774"/>
                  </a:cubicBezTo>
                  <a:cubicBezTo>
                    <a:pt x="1591" y="787"/>
                    <a:pt x="1598" y="799"/>
                    <a:pt x="1606" y="809"/>
                  </a:cubicBezTo>
                  <a:cubicBezTo>
                    <a:pt x="1615" y="819"/>
                    <a:pt x="1624" y="828"/>
                    <a:pt x="1634" y="835"/>
                  </a:cubicBezTo>
                  <a:cubicBezTo>
                    <a:pt x="1639" y="839"/>
                    <a:pt x="1641" y="842"/>
                    <a:pt x="1642" y="843"/>
                  </a:cubicBezTo>
                  <a:cubicBezTo>
                    <a:pt x="1643" y="844"/>
                    <a:pt x="1641" y="845"/>
                    <a:pt x="1637" y="843"/>
                  </a:cubicBezTo>
                  <a:close/>
                  <a:moveTo>
                    <a:pt x="262" y="863"/>
                  </a:moveTo>
                  <a:cubicBezTo>
                    <a:pt x="261" y="867"/>
                    <a:pt x="257" y="871"/>
                    <a:pt x="253" y="872"/>
                  </a:cubicBezTo>
                  <a:cubicBezTo>
                    <a:pt x="245" y="876"/>
                    <a:pt x="235" y="876"/>
                    <a:pt x="225" y="877"/>
                  </a:cubicBezTo>
                  <a:cubicBezTo>
                    <a:pt x="216" y="878"/>
                    <a:pt x="207" y="878"/>
                    <a:pt x="197" y="878"/>
                  </a:cubicBezTo>
                  <a:cubicBezTo>
                    <a:pt x="192" y="879"/>
                    <a:pt x="188" y="879"/>
                    <a:pt x="183" y="879"/>
                  </a:cubicBezTo>
                  <a:cubicBezTo>
                    <a:pt x="178" y="879"/>
                    <a:pt x="173" y="879"/>
                    <a:pt x="168" y="878"/>
                  </a:cubicBezTo>
                  <a:cubicBezTo>
                    <a:pt x="148" y="877"/>
                    <a:pt x="127" y="872"/>
                    <a:pt x="107" y="862"/>
                  </a:cubicBezTo>
                  <a:cubicBezTo>
                    <a:pt x="88" y="853"/>
                    <a:pt x="69" y="840"/>
                    <a:pt x="53" y="822"/>
                  </a:cubicBezTo>
                  <a:cubicBezTo>
                    <a:pt x="45" y="813"/>
                    <a:pt x="38" y="803"/>
                    <a:pt x="33" y="792"/>
                  </a:cubicBezTo>
                  <a:cubicBezTo>
                    <a:pt x="28" y="781"/>
                    <a:pt x="24" y="769"/>
                    <a:pt x="23" y="756"/>
                  </a:cubicBezTo>
                  <a:cubicBezTo>
                    <a:pt x="23" y="753"/>
                    <a:pt x="23" y="750"/>
                    <a:pt x="23" y="747"/>
                  </a:cubicBezTo>
                  <a:cubicBezTo>
                    <a:pt x="23" y="744"/>
                    <a:pt x="23" y="741"/>
                    <a:pt x="23" y="738"/>
                  </a:cubicBezTo>
                  <a:cubicBezTo>
                    <a:pt x="23" y="732"/>
                    <a:pt x="23" y="726"/>
                    <a:pt x="22" y="720"/>
                  </a:cubicBezTo>
                  <a:cubicBezTo>
                    <a:pt x="22" y="708"/>
                    <a:pt x="22" y="696"/>
                    <a:pt x="22" y="684"/>
                  </a:cubicBezTo>
                  <a:cubicBezTo>
                    <a:pt x="22" y="585"/>
                    <a:pt x="21" y="480"/>
                    <a:pt x="21" y="372"/>
                  </a:cubicBezTo>
                  <a:cubicBezTo>
                    <a:pt x="21" y="319"/>
                    <a:pt x="21" y="265"/>
                    <a:pt x="21" y="211"/>
                  </a:cubicBezTo>
                  <a:cubicBezTo>
                    <a:pt x="22" y="156"/>
                    <a:pt x="22" y="65"/>
                    <a:pt x="22" y="48"/>
                  </a:cubicBezTo>
                  <a:cubicBezTo>
                    <a:pt x="22" y="30"/>
                    <a:pt x="34" y="18"/>
                    <a:pt x="52" y="18"/>
                  </a:cubicBezTo>
                  <a:cubicBezTo>
                    <a:pt x="70" y="18"/>
                    <a:pt x="121" y="19"/>
                    <a:pt x="155" y="19"/>
                  </a:cubicBezTo>
                  <a:cubicBezTo>
                    <a:pt x="167" y="19"/>
                    <a:pt x="180" y="19"/>
                    <a:pt x="192" y="19"/>
                  </a:cubicBezTo>
                  <a:cubicBezTo>
                    <a:pt x="198" y="19"/>
                    <a:pt x="204" y="19"/>
                    <a:pt x="210" y="19"/>
                  </a:cubicBezTo>
                  <a:cubicBezTo>
                    <a:pt x="217" y="19"/>
                    <a:pt x="223" y="19"/>
                    <a:pt x="229" y="20"/>
                  </a:cubicBezTo>
                  <a:cubicBezTo>
                    <a:pt x="254" y="22"/>
                    <a:pt x="277" y="29"/>
                    <a:pt x="298" y="38"/>
                  </a:cubicBezTo>
                  <a:cubicBezTo>
                    <a:pt x="319" y="47"/>
                    <a:pt x="338" y="59"/>
                    <a:pt x="354" y="72"/>
                  </a:cubicBezTo>
                  <a:cubicBezTo>
                    <a:pt x="358" y="76"/>
                    <a:pt x="362" y="79"/>
                    <a:pt x="365" y="83"/>
                  </a:cubicBezTo>
                  <a:cubicBezTo>
                    <a:pt x="369" y="86"/>
                    <a:pt x="373" y="90"/>
                    <a:pt x="376" y="93"/>
                  </a:cubicBezTo>
                  <a:cubicBezTo>
                    <a:pt x="383" y="100"/>
                    <a:pt x="390" y="106"/>
                    <a:pt x="397" y="113"/>
                  </a:cubicBezTo>
                  <a:cubicBezTo>
                    <a:pt x="450" y="164"/>
                    <a:pt x="491" y="204"/>
                    <a:pt x="515" y="229"/>
                  </a:cubicBezTo>
                  <a:cubicBezTo>
                    <a:pt x="523" y="236"/>
                    <a:pt x="528" y="242"/>
                    <a:pt x="531" y="246"/>
                  </a:cubicBezTo>
                  <a:cubicBezTo>
                    <a:pt x="538" y="254"/>
                    <a:pt x="537" y="254"/>
                    <a:pt x="528" y="247"/>
                  </a:cubicBezTo>
                  <a:cubicBezTo>
                    <a:pt x="523" y="243"/>
                    <a:pt x="517" y="238"/>
                    <a:pt x="508" y="231"/>
                  </a:cubicBezTo>
                  <a:cubicBezTo>
                    <a:pt x="499" y="224"/>
                    <a:pt x="450" y="180"/>
                    <a:pt x="385" y="120"/>
                  </a:cubicBezTo>
                  <a:cubicBezTo>
                    <a:pt x="375" y="110"/>
                    <a:pt x="364" y="100"/>
                    <a:pt x="353" y="90"/>
                  </a:cubicBezTo>
                  <a:cubicBezTo>
                    <a:pt x="342" y="80"/>
                    <a:pt x="331" y="72"/>
                    <a:pt x="318" y="64"/>
                  </a:cubicBezTo>
                  <a:cubicBezTo>
                    <a:pt x="294" y="50"/>
                    <a:pt x="266" y="40"/>
                    <a:pt x="237" y="36"/>
                  </a:cubicBezTo>
                  <a:cubicBezTo>
                    <a:pt x="230" y="35"/>
                    <a:pt x="222" y="35"/>
                    <a:pt x="215" y="34"/>
                  </a:cubicBezTo>
                  <a:cubicBezTo>
                    <a:pt x="208" y="34"/>
                    <a:pt x="200" y="34"/>
                    <a:pt x="192" y="34"/>
                  </a:cubicBezTo>
                  <a:cubicBezTo>
                    <a:pt x="177" y="34"/>
                    <a:pt x="162" y="34"/>
                    <a:pt x="147" y="34"/>
                  </a:cubicBezTo>
                  <a:cubicBezTo>
                    <a:pt x="122" y="35"/>
                    <a:pt x="61" y="34"/>
                    <a:pt x="58" y="34"/>
                  </a:cubicBezTo>
                  <a:cubicBezTo>
                    <a:pt x="41" y="35"/>
                    <a:pt x="39" y="41"/>
                    <a:pt x="39" y="54"/>
                  </a:cubicBezTo>
                  <a:cubicBezTo>
                    <a:pt x="39" y="67"/>
                    <a:pt x="39" y="176"/>
                    <a:pt x="39" y="236"/>
                  </a:cubicBezTo>
                  <a:cubicBezTo>
                    <a:pt x="40" y="297"/>
                    <a:pt x="40" y="357"/>
                    <a:pt x="40" y="417"/>
                  </a:cubicBezTo>
                  <a:cubicBezTo>
                    <a:pt x="41" y="490"/>
                    <a:pt x="41" y="570"/>
                    <a:pt x="41" y="648"/>
                  </a:cubicBezTo>
                  <a:cubicBezTo>
                    <a:pt x="41" y="667"/>
                    <a:pt x="41" y="686"/>
                    <a:pt x="40" y="705"/>
                  </a:cubicBezTo>
                  <a:cubicBezTo>
                    <a:pt x="40" y="715"/>
                    <a:pt x="40" y="724"/>
                    <a:pt x="40" y="734"/>
                  </a:cubicBezTo>
                  <a:cubicBezTo>
                    <a:pt x="40" y="738"/>
                    <a:pt x="40" y="743"/>
                    <a:pt x="40" y="748"/>
                  </a:cubicBezTo>
                  <a:cubicBezTo>
                    <a:pt x="40" y="752"/>
                    <a:pt x="40" y="756"/>
                    <a:pt x="41" y="760"/>
                  </a:cubicBezTo>
                  <a:cubicBezTo>
                    <a:pt x="43" y="776"/>
                    <a:pt x="50" y="791"/>
                    <a:pt x="59" y="804"/>
                  </a:cubicBezTo>
                  <a:cubicBezTo>
                    <a:pt x="69" y="817"/>
                    <a:pt x="80" y="827"/>
                    <a:pt x="93" y="836"/>
                  </a:cubicBezTo>
                  <a:cubicBezTo>
                    <a:pt x="106" y="846"/>
                    <a:pt x="122" y="853"/>
                    <a:pt x="138" y="859"/>
                  </a:cubicBezTo>
                  <a:cubicBezTo>
                    <a:pt x="146" y="861"/>
                    <a:pt x="154" y="863"/>
                    <a:pt x="162" y="864"/>
                  </a:cubicBezTo>
                  <a:cubicBezTo>
                    <a:pt x="167" y="865"/>
                    <a:pt x="171" y="865"/>
                    <a:pt x="175" y="865"/>
                  </a:cubicBezTo>
                  <a:cubicBezTo>
                    <a:pt x="179" y="865"/>
                    <a:pt x="184" y="865"/>
                    <a:pt x="188" y="865"/>
                  </a:cubicBezTo>
                  <a:cubicBezTo>
                    <a:pt x="205" y="865"/>
                    <a:pt x="225" y="865"/>
                    <a:pt x="237" y="864"/>
                  </a:cubicBezTo>
                  <a:cubicBezTo>
                    <a:pt x="239" y="863"/>
                    <a:pt x="241" y="863"/>
                    <a:pt x="243" y="863"/>
                  </a:cubicBezTo>
                  <a:cubicBezTo>
                    <a:pt x="244" y="862"/>
                    <a:pt x="246" y="862"/>
                    <a:pt x="248" y="861"/>
                  </a:cubicBezTo>
                  <a:cubicBezTo>
                    <a:pt x="251" y="859"/>
                    <a:pt x="252" y="855"/>
                    <a:pt x="253" y="852"/>
                  </a:cubicBezTo>
                  <a:cubicBezTo>
                    <a:pt x="253" y="848"/>
                    <a:pt x="253" y="845"/>
                    <a:pt x="253" y="841"/>
                  </a:cubicBezTo>
                  <a:cubicBezTo>
                    <a:pt x="253" y="830"/>
                    <a:pt x="253" y="830"/>
                    <a:pt x="253" y="830"/>
                  </a:cubicBezTo>
                  <a:cubicBezTo>
                    <a:pt x="253" y="799"/>
                    <a:pt x="254" y="772"/>
                    <a:pt x="254" y="748"/>
                  </a:cubicBezTo>
                  <a:cubicBezTo>
                    <a:pt x="255" y="734"/>
                    <a:pt x="255" y="720"/>
                    <a:pt x="256" y="708"/>
                  </a:cubicBezTo>
                  <a:cubicBezTo>
                    <a:pt x="257" y="695"/>
                    <a:pt x="259" y="704"/>
                    <a:pt x="261" y="731"/>
                  </a:cubicBezTo>
                  <a:cubicBezTo>
                    <a:pt x="261" y="740"/>
                    <a:pt x="262" y="752"/>
                    <a:pt x="262" y="765"/>
                  </a:cubicBezTo>
                  <a:cubicBezTo>
                    <a:pt x="263" y="777"/>
                    <a:pt x="263" y="790"/>
                    <a:pt x="263" y="804"/>
                  </a:cubicBezTo>
                  <a:cubicBezTo>
                    <a:pt x="263" y="811"/>
                    <a:pt x="264" y="818"/>
                    <a:pt x="264" y="826"/>
                  </a:cubicBezTo>
                  <a:cubicBezTo>
                    <a:pt x="264" y="833"/>
                    <a:pt x="264" y="841"/>
                    <a:pt x="264" y="850"/>
                  </a:cubicBezTo>
                  <a:cubicBezTo>
                    <a:pt x="264" y="854"/>
                    <a:pt x="264" y="859"/>
                    <a:pt x="262" y="863"/>
                  </a:cubicBezTo>
                  <a:close/>
                  <a:moveTo>
                    <a:pt x="694" y="671"/>
                  </a:moveTo>
                  <a:cubicBezTo>
                    <a:pt x="688" y="665"/>
                    <a:pt x="682" y="659"/>
                    <a:pt x="675" y="653"/>
                  </a:cubicBezTo>
                  <a:cubicBezTo>
                    <a:pt x="668" y="646"/>
                    <a:pt x="660" y="640"/>
                    <a:pt x="653" y="633"/>
                  </a:cubicBezTo>
                  <a:cubicBezTo>
                    <a:pt x="637" y="618"/>
                    <a:pt x="621" y="602"/>
                    <a:pt x="604" y="586"/>
                  </a:cubicBezTo>
                  <a:cubicBezTo>
                    <a:pt x="584" y="567"/>
                    <a:pt x="563" y="548"/>
                    <a:pt x="540" y="531"/>
                  </a:cubicBezTo>
                  <a:cubicBezTo>
                    <a:pt x="518" y="515"/>
                    <a:pt x="494" y="499"/>
                    <a:pt x="467" y="488"/>
                  </a:cubicBezTo>
                  <a:cubicBezTo>
                    <a:pt x="441" y="477"/>
                    <a:pt x="411" y="469"/>
                    <a:pt x="381" y="469"/>
                  </a:cubicBezTo>
                  <a:cubicBezTo>
                    <a:pt x="374" y="469"/>
                    <a:pt x="366" y="469"/>
                    <a:pt x="358" y="470"/>
                  </a:cubicBezTo>
                  <a:cubicBezTo>
                    <a:pt x="350" y="471"/>
                    <a:pt x="343" y="473"/>
                    <a:pt x="335" y="476"/>
                  </a:cubicBezTo>
                  <a:cubicBezTo>
                    <a:pt x="321" y="480"/>
                    <a:pt x="307" y="488"/>
                    <a:pt x="296" y="497"/>
                  </a:cubicBezTo>
                  <a:cubicBezTo>
                    <a:pt x="273" y="515"/>
                    <a:pt x="256" y="542"/>
                    <a:pt x="249" y="572"/>
                  </a:cubicBezTo>
                  <a:cubicBezTo>
                    <a:pt x="247" y="580"/>
                    <a:pt x="246" y="588"/>
                    <a:pt x="246" y="595"/>
                  </a:cubicBezTo>
                  <a:cubicBezTo>
                    <a:pt x="246" y="597"/>
                    <a:pt x="246" y="599"/>
                    <a:pt x="246" y="601"/>
                  </a:cubicBezTo>
                  <a:cubicBezTo>
                    <a:pt x="246" y="606"/>
                    <a:pt x="246" y="606"/>
                    <a:pt x="246" y="606"/>
                  </a:cubicBezTo>
                  <a:cubicBezTo>
                    <a:pt x="246" y="610"/>
                    <a:pt x="246" y="613"/>
                    <a:pt x="246" y="617"/>
                  </a:cubicBezTo>
                  <a:cubicBezTo>
                    <a:pt x="246" y="631"/>
                    <a:pt x="246" y="645"/>
                    <a:pt x="245" y="660"/>
                  </a:cubicBezTo>
                  <a:cubicBezTo>
                    <a:pt x="245" y="717"/>
                    <a:pt x="245" y="776"/>
                    <a:pt x="244" y="836"/>
                  </a:cubicBezTo>
                  <a:cubicBezTo>
                    <a:pt x="244" y="843"/>
                    <a:pt x="244" y="843"/>
                    <a:pt x="244" y="843"/>
                  </a:cubicBezTo>
                  <a:cubicBezTo>
                    <a:pt x="244" y="845"/>
                    <a:pt x="244" y="847"/>
                    <a:pt x="243" y="849"/>
                  </a:cubicBezTo>
                  <a:cubicBezTo>
                    <a:pt x="243" y="851"/>
                    <a:pt x="241" y="853"/>
                    <a:pt x="239" y="854"/>
                  </a:cubicBezTo>
                  <a:cubicBezTo>
                    <a:pt x="237" y="855"/>
                    <a:pt x="235" y="855"/>
                    <a:pt x="233" y="855"/>
                  </a:cubicBezTo>
                  <a:cubicBezTo>
                    <a:pt x="231" y="856"/>
                    <a:pt x="228" y="856"/>
                    <a:pt x="226" y="856"/>
                  </a:cubicBezTo>
                  <a:cubicBezTo>
                    <a:pt x="223" y="856"/>
                    <a:pt x="223" y="856"/>
                    <a:pt x="223" y="856"/>
                  </a:cubicBezTo>
                  <a:cubicBezTo>
                    <a:pt x="217" y="856"/>
                    <a:pt x="217" y="856"/>
                    <a:pt x="217" y="856"/>
                  </a:cubicBezTo>
                  <a:cubicBezTo>
                    <a:pt x="210" y="857"/>
                    <a:pt x="203" y="857"/>
                    <a:pt x="195" y="857"/>
                  </a:cubicBezTo>
                  <a:cubicBezTo>
                    <a:pt x="184" y="857"/>
                    <a:pt x="184" y="857"/>
                    <a:pt x="184" y="857"/>
                  </a:cubicBezTo>
                  <a:cubicBezTo>
                    <a:pt x="178" y="857"/>
                    <a:pt x="178" y="857"/>
                    <a:pt x="178" y="857"/>
                  </a:cubicBezTo>
                  <a:cubicBezTo>
                    <a:pt x="176" y="857"/>
                    <a:pt x="175" y="857"/>
                    <a:pt x="173" y="857"/>
                  </a:cubicBezTo>
                  <a:cubicBezTo>
                    <a:pt x="166" y="856"/>
                    <a:pt x="160" y="856"/>
                    <a:pt x="153" y="854"/>
                  </a:cubicBezTo>
                  <a:cubicBezTo>
                    <a:pt x="140" y="851"/>
                    <a:pt x="126" y="847"/>
                    <a:pt x="114" y="840"/>
                  </a:cubicBezTo>
                  <a:cubicBezTo>
                    <a:pt x="90" y="828"/>
                    <a:pt x="68" y="809"/>
                    <a:pt x="56" y="786"/>
                  </a:cubicBezTo>
                  <a:cubicBezTo>
                    <a:pt x="50" y="775"/>
                    <a:pt x="46" y="763"/>
                    <a:pt x="46" y="750"/>
                  </a:cubicBezTo>
                  <a:cubicBezTo>
                    <a:pt x="46" y="736"/>
                    <a:pt x="46" y="721"/>
                    <a:pt x="46" y="706"/>
                  </a:cubicBezTo>
                  <a:cubicBezTo>
                    <a:pt x="45" y="601"/>
                    <a:pt x="45" y="492"/>
                    <a:pt x="44" y="382"/>
                  </a:cubicBezTo>
                  <a:cubicBezTo>
                    <a:pt x="44" y="274"/>
                    <a:pt x="43" y="75"/>
                    <a:pt x="43" y="56"/>
                  </a:cubicBezTo>
                  <a:cubicBezTo>
                    <a:pt x="43" y="50"/>
                    <a:pt x="45" y="45"/>
                    <a:pt x="47" y="43"/>
                  </a:cubicBezTo>
                  <a:cubicBezTo>
                    <a:pt x="50" y="40"/>
                    <a:pt x="57" y="39"/>
                    <a:pt x="60" y="39"/>
                  </a:cubicBezTo>
                  <a:cubicBezTo>
                    <a:pt x="66" y="39"/>
                    <a:pt x="144" y="39"/>
                    <a:pt x="186" y="39"/>
                  </a:cubicBezTo>
                  <a:cubicBezTo>
                    <a:pt x="202" y="39"/>
                    <a:pt x="202" y="39"/>
                    <a:pt x="202" y="39"/>
                  </a:cubicBezTo>
                  <a:cubicBezTo>
                    <a:pt x="207" y="39"/>
                    <a:pt x="213" y="39"/>
                    <a:pt x="218" y="39"/>
                  </a:cubicBezTo>
                  <a:cubicBezTo>
                    <a:pt x="228" y="39"/>
                    <a:pt x="238" y="41"/>
                    <a:pt x="248" y="42"/>
                  </a:cubicBezTo>
                  <a:cubicBezTo>
                    <a:pt x="268" y="46"/>
                    <a:pt x="287" y="53"/>
                    <a:pt x="305" y="62"/>
                  </a:cubicBezTo>
                  <a:cubicBezTo>
                    <a:pt x="323" y="71"/>
                    <a:pt x="340" y="83"/>
                    <a:pt x="354" y="97"/>
                  </a:cubicBezTo>
                  <a:cubicBezTo>
                    <a:pt x="370" y="111"/>
                    <a:pt x="385" y="126"/>
                    <a:pt x="400" y="140"/>
                  </a:cubicBezTo>
                  <a:cubicBezTo>
                    <a:pt x="431" y="168"/>
                    <a:pt x="461" y="196"/>
                    <a:pt x="490" y="224"/>
                  </a:cubicBezTo>
                  <a:cubicBezTo>
                    <a:pt x="503" y="235"/>
                    <a:pt x="515" y="247"/>
                    <a:pt x="527" y="257"/>
                  </a:cubicBezTo>
                  <a:cubicBezTo>
                    <a:pt x="532" y="263"/>
                    <a:pt x="538" y="268"/>
                    <a:pt x="544" y="273"/>
                  </a:cubicBezTo>
                  <a:cubicBezTo>
                    <a:pt x="545" y="274"/>
                    <a:pt x="547" y="276"/>
                    <a:pt x="548" y="277"/>
                  </a:cubicBezTo>
                  <a:cubicBezTo>
                    <a:pt x="550" y="279"/>
                    <a:pt x="550" y="279"/>
                    <a:pt x="550" y="279"/>
                  </a:cubicBezTo>
                  <a:cubicBezTo>
                    <a:pt x="552" y="280"/>
                    <a:pt x="552" y="280"/>
                    <a:pt x="552" y="280"/>
                  </a:cubicBezTo>
                  <a:cubicBezTo>
                    <a:pt x="554" y="283"/>
                    <a:pt x="557" y="286"/>
                    <a:pt x="560" y="288"/>
                  </a:cubicBezTo>
                  <a:cubicBezTo>
                    <a:pt x="581" y="308"/>
                    <a:pt x="603" y="324"/>
                    <a:pt x="621" y="336"/>
                  </a:cubicBezTo>
                  <a:cubicBezTo>
                    <a:pt x="640" y="348"/>
                    <a:pt x="656" y="357"/>
                    <a:pt x="669" y="363"/>
                  </a:cubicBezTo>
                  <a:cubicBezTo>
                    <a:pt x="681" y="369"/>
                    <a:pt x="690" y="372"/>
                    <a:pt x="694" y="374"/>
                  </a:cubicBezTo>
                  <a:cubicBezTo>
                    <a:pt x="710" y="380"/>
                    <a:pt x="722" y="384"/>
                    <a:pt x="731" y="386"/>
                  </a:cubicBezTo>
                  <a:cubicBezTo>
                    <a:pt x="739" y="388"/>
                    <a:pt x="744" y="389"/>
                    <a:pt x="745" y="388"/>
                  </a:cubicBezTo>
                  <a:cubicBezTo>
                    <a:pt x="745" y="388"/>
                    <a:pt x="742" y="386"/>
                    <a:pt x="735" y="383"/>
                  </a:cubicBezTo>
                  <a:cubicBezTo>
                    <a:pt x="728" y="379"/>
                    <a:pt x="719" y="375"/>
                    <a:pt x="703" y="367"/>
                  </a:cubicBezTo>
                  <a:cubicBezTo>
                    <a:pt x="683" y="357"/>
                    <a:pt x="653" y="341"/>
                    <a:pt x="620" y="316"/>
                  </a:cubicBezTo>
                  <a:cubicBezTo>
                    <a:pt x="604" y="304"/>
                    <a:pt x="586" y="289"/>
                    <a:pt x="569" y="272"/>
                  </a:cubicBezTo>
                  <a:cubicBezTo>
                    <a:pt x="567" y="270"/>
                    <a:pt x="564" y="267"/>
                    <a:pt x="562" y="265"/>
                  </a:cubicBezTo>
                  <a:cubicBezTo>
                    <a:pt x="560" y="263"/>
                    <a:pt x="557" y="261"/>
                    <a:pt x="555" y="258"/>
                  </a:cubicBezTo>
                  <a:cubicBezTo>
                    <a:pt x="550" y="254"/>
                    <a:pt x="546" y="249"/>
                    <a:pt x="541" y="245"/>
                  </a:cubicBezTo>
                  <a:cubicBezTo>
                    <a:pt x="531" y="235"/>
                    <a:pt x="521" y="226"/>
                    <a:pt x="511" y="216"/>
                  </a:cubicBezTo>
                  <a:cubicBezTo>
                    <a:pt x="469" y="176"/>
                    <a:pt x="423" y="131"/>
                    <a:pt x="372" y="83"/>
                  </a:cubicBezTo>
                  <a:cubicBezTo>
                    <a:pt x="366" y="77"/>
                    <a:pt x="359" y="70"/>
                    <a:pt x="352" y="64"/>
                  </a:cubicBezTo>
                  <a:cubicBezTo>
                    <a:pt x="344" y="59"/>
                    <a:pt x="336" y="53"/>
                    <a:pt x="328" y="48"/>
                  </a:cubicBezTo>
                  <a:cubicBezTo>
                    <a:pt x="312" y="38"/>
                    <a:pt x="294" y="30"/>
                    <a:pt x="275" y="25"/>
                  </a:cubicBezTo>
                  <a:cubicBezTo>
                    <a:pt x="257" y="19"/>
                    <a:pt x="237" y="15"/>
                    <a:pt x="216" y="15"/>
                  </a:cubicBezTo>
                  <a:cubicBezTo>
                    <a:pt x="212" y="14"/>
                    <a:pt x="212" y="14"/>
                    <a:pt x="212" y="14"/>
                  </a:cubicBezTo>
                  <a:cubicBezTo>
                    <a:pt x="209" y="14"/>
                    <a:pt x="209" y="14"/>
                    <a:pt x="209" y="14"/>
                  </a:cubicBezTo>
                  <a:cubicBezTo>
                    <a:pt x="202" y="14"/>
                    <a:pt x="202" y="14"/>
                    <a:pt x="202" y="14"/>
                  </a:cubicBezTo>
                  <a:cubicBezTo>
                    <a:pt x="197" y="14"/>
                    <a:pt x="192" y="14"/>
                    <a:pt x="187" y="14"/>
                  </a:cubicBezTo>
                  <a:cubicBezTo>
                    <a:pt x="177" y="14"/>
                    <a:pt x="167" y="14"/>
                    <a:pt x="157" y="14"/>
                  </a:cubicBezTo>
                  <a:cubicBezTo>
                    <a:pt x="122" y="14"/>
                    <a:pt x="80" y="13"/>
                    <a:pt x="50" y="13"/>
                  </a:cubicBezTo>
                  <a:cubicBezTo>
                    <a:pt x="32" y="13"/>
                    <a:pt x="17" y="23"/>
                    <a:pt x="17" y="46"/>
                  </a:cubicBezTo>
                  <a:cubicBezTo>
                    <a:pt x="17" y="59"/>
                    <a:pt x="17" y="87"/>
                    <a:pt x="17" y="108"/>
                  </a:cubicBezTo>
                  <a:cubicBezTo>
                    <a:pt x="16" y="278"/>
                    <a:pt x="16" y="456"/>
                    <a:pt x="16" y="632"/>
                  </a:cubicBezTo>
                  <a:cubicBezTo>
                    <a:pt x="16" y="653"/>
                    <a:pt x="16" y="675"/>
                    <a:pt x="16" y="697"/>
                  </a:cubicBezTo>
                  <a:cubicBezTo>
                    <a:pt x="16" y="708"/>
                    <a:pt x="16" y="719"/>
                    <a:pt x="16" y="730"/>
                  </a:cubicBezTo>
                  <a:cubicBezTo>
                    <a:pt x="16" y="746"/>
                    <a:pt x="16" y="746"/>
                    <a:pt x="16" y="746"/>
                  </a:cubicBezTo>
                  <a:cubicBezTo>
                    <a:pt x="16" y="750"/>
                    <a:pt x="16" y="750"/>
                    <a:pt x="16" y="750"/>
                  </a:cubicBezTo>
                  <a:cubicBezTo>
                    <a:pt x="16" y="752"/>
                    <a:pt x="16" y="753"/>
                    <a:pt x="16" y="755"/>
                  </a:cubicBezTo>
                  <a:cubicBezTo>
                    <a:pt x="16" y="758"/>
                    <a:pt x="17" y="761"/>
                    <a:pt x="17" y="764"/>
                  </a:cubicBezTo>
                  <a:cubicBezTo>
                    <a:pt x="19" y="776"/>
                    <a:pt x="23" y="788"/>
                    <a:pt x="28" y="799"/>
                  </a:cubicBezTo>
                  <a:cubicBezTo>
                    <a:pt x="34" y="810"/>
                    <a:pt x="41" y="820"/>
                    <a:pt x="49" y="828"/>
                  </a:cubicBezTo>
                  <a:cubicBezTo>
                    <a:pt x="65" y="846"/>
                    <a:pt x="84" y="859"/>
                    <a:pt x="104" y="869"/>
                  </a:cubicBezTo>
                  <a:cubicBezTo>
                    <a:pt x="125" y="879"/>
                    <a:pt x="147" y="886"/>
                    <a:pt x="170" y="887"/>
                  </a:cubicBezTo>
                  <a:cubicBezTo>
                    <a:pt x="173" y="887"/>
                    <a:pt x="176" y="887"/>
                    <a:pt x="179" y="887"/>
                  </a:cubicBezTo>
                  <a:cubicBezTo>
                    <a:pt x="187" y="887"/>
                    <a:pt x="187" y="887"/>
                    <a:pt x="187" y="887"/>
                  </a:cubicBezTo>
                  <a:cubicBezTo>
                    <a:pt x="192" y="887"/>
                    <a:pt x="197" y="887"/>
                    <a:pt x="202" y="887"/>
                  </a:cubicBezTo>
                  <a:cubicBezTo>
                    <a:pt x="208" y="887"/>
                    <a:pt x="213" y="887"/>
                    <a:pt x="218" y="886"/>
                  </a:cubicBezTo>
                  <a:cubicBezTo>
                    <a:pt x="227" y="886"/>
                    <a:pt x="227" y="886"/>
                    <a:pt x="227" y="886"/>
                  </a:cubicBezTo>
                  <a:cubicBezTo>
                    <a:pt x="230" y="886"/>
                    <a:pt x="234" y="885"/>
                    <a:pt x="237" y="885"/>
                  </a:cubicBezTo>
                  <a:cubicBezTo>
                    <a:pt x="244" y="884"/>
                    <a:pt x="251" y="883"/>
                    <a:pt x="257" y="881"/>
                  </a:cubicBezTo>
                  <a:cubicBezTo>
                    <a:pt x="263" y="879"/>
                    <a:pt x="268" y="874"/>
                    <a:pt x="270" y="868"/>
                  </a:cubicBezTo>
                  <a:cubicBezTo>
                    <a:pt x="273" y="862"/>
                    <a:pt x="274" y="856"/>
                    <a:pt x="274" y="849"/>
                  </a:cubicBezTo>
                  <a:cubicBezTo>
                    <a:pt x="274" y="839"/>
                    <a:pt x="274" y="839"/>
                    <a:pt x="274" y="839"/>
                  </a:cubicBezTo>
                  <a:cubicBezTo>
                    <a:pt x="274" y="834"/>
                    <a:pt x="274" y="834"/>
                    <a:pt x="274" y="834"/>
                  </a:cubicBezTo>
                  <a:cubicBezTo>
                    <a:pt x="274" y="830"/>
                    <a:pt x="274" y="830"/>
                    <a:pt x="274" y="830"/>
                  </a:cubicBezTo>
                  <a:cubicBezTo>
                    <a:pt x="274" y="810"/>
                    <a:pt x="273" y="789"/>
                    <a:pt x="273" y="770"/>
                  </a:cubicBezTo>
                  <a:cubicBezTo>
                    <a:pt x="273" y="730"/>
                    <a:pt x="273" y="691"/>
                    <a:pt x="273" y="653"/>
                  </a:cubicBezTo>
                  <a:cubicBezTo>
                    <a:pt x="272" y="635"/>
                    <a:pt x="272" y="616"/>
                    <a:pt x="272" y="598"/>
                  </a:cubicBezTo>
                  <a:cubicBezTo>
                    <a:pt x="272" y="581"/>
                    <a:pt x="277" y="565"/>
                    <a:pt x="284" y="550"/>
                  </a:cubicBezTo>
                  <a:cubicBezTo>
                    <a:pt x="291" y="536"/>
                    <a:pt x="302" y="523"/>
                    <a:pt x="314" y="514"/>
                  </a:cubicBezTo>
                  <a:cubicBezTo>
                    <a:pt x="327" y="504"/>
                    <a:pt x="341" y="497"/>
                    <a:pt x="355" y="494"/>
                  </a:cubicBezTo>
                  <a:cubicBezTo>
                    <a:pt x="363" y="492"/>
                    <a:pt x="370" y="492"/>
                    <a:pt x="378" y="491"/>
                  </a:cubicBezTo>
                  <a:cubicBezTo>
                    <a:pt x="385" y="491"/>
                    <a:pt x="393" y="492"/>
                    <a:pt x="401" y="492"/>
                  </a:cubicBezTo>
                  <a:cubicBezTo>
                    <a:pt x="416" y="494"/>
                    <a:pt x="430" y="497"/>
                    <a:pt x="444" y="502"/>
                  </a:cubicBezTo>
                  <a:cubicBezTo>
                    <a:pt x="472" y="511"/>
                    <a:pt x="497" y="525"/>
                    <a:pt x="519" y="539"/>
                  </a:cubicBezTo>
                  <a:cubicBezTo>
                    <a:pt x="541" y="554"/>
                    <a:pt x="560" y="570"/>
                    <a:pt x="578" y="585"/>
                  </a:cubicBezTo>
                  <a:cubicBezTo>
                    <a:pt x="596" y="601"/>
                    <a:pt x="612" y="615"/>
                    <a:pt x="627" y="628"/>
                  </a:cubicBezTo>
                  <a:cubicBezTo>
                    <a:pt x="641" y="642"/>
                    <a:pt x="655" y="653"/>
                    <a:pt x="667" y="663"/>
                  </a:cubicBezTo>
                  <a:cubicBezTo>
                    <a:pt x="685" y="678"/>
                    <a:pt x="696" y="687"/>
                    <a:pt x="707" y="696"/>
                  </a:cubicBezTo>
                  <a:cubicBezTo>
                    <a:pt x="740" y="722"/>
                    <a:pt x="751" y="728"/>
                    <a:pt x="738" y="714"/>
                  </a:cubicBezTo>
                  <a:cubicBezTo>
                    <a:pt x="725" y="701"/>
                    <a:pt x="712" y="688"/>
                    <a:pt x="694" y="67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5507491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166E0691-89EC-4474-BB0D-332F03B8E5DC}"/>
              </a:ext>
            </a:extLst>
          </p:cNvPr>
          <p:cNvSpPr/>
          <p:nvPr userDrawn="1"/>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dirty="0">
              <a:solidFill>
                <a:srgbClr val="FFFFFF"/>
              </a:solidFill>
              <a:latin typeface="Verdana"/>
            </a:endParaRPr>
          </a:p>
        </p:txBody>
      </p:sp>
      <p:sp>
        <p:nvSpPr>
          <p:cNvPr id="9" name="Text Placeholder 12">
            <a:extLst>
              <a:ext uri="{FF2B5EF4-FFF2-40B4-BE49-F238E27FC236}">
                <a16:creationId xmlns:a16="http://schemas.microsoft.com/office/drawing/2014/main" id="{13FBDD19-69C3-4686-A489-22E4E892FBB2}"/>
              </a:ext>
            </a:extLst>
          </p:cNvPr>
          <p:cNvSpPr>
            <a:spLocks noGrp="1"/>
          </p:cNvSpPr>
          <p:nvPr>
            <p:ph type="body" sz="quarter" idx="10" hasCustomPrompt="1"/>
          </p:nvPr>
        </p:nvSpPr>
        <p:spPr bwMode="gray">
          <a:xfrm>
            <a:off x="5951538" y="3597205"/>
            <a:ext cx="5617069"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dirty="0"/>
              <a:t>Name</a:t>
            </a:r>
            <a:br>
              <a:rPr lang="en-US" noProof="0" dirty="0"/>
            </a:br>
            <a:r>
              <a:rPr lang="en-US" noProof="0" dirty="0"/>
              <a:t>Place, Date</a:t>
            </a:r>
          </a:p>
        </p:txBody>
      </p:sp>
      <p:sp>
        <p:nvSpPr>
          <p:cNvPr id="10" name="Subtitle 2">
            <a:extLst>
              <a:ext uri="{FF2B5EF4-FFF2-40B4-BE49-F238E27FC236}">
                <a16:creationId xmlns:a16="http://schemas.microsoft.com/office/drawing/2014/main" id="{B2A80AA0-4D4B-4F07-A490-BA8F1061E2E1}"/>
              </a:ext>
            </a:extLst>
          </p:cNvPr>
          <p:cNvSpPr>
            <a:spLocks noGrp="1"/>
          </p:cNvSpPr>
          <p:nvPr>
            <p:ph type="subTitle" idx="1" hasCustomPrompt="1"/>
          </p:nvPr>
        </p:nvSpPr>
        <p:spPr bwMode="gray">
          <a:xfrm>
            <a:off x="5952081" y="2877197"/>
            <a:ext cx="5616521"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dirty="0"/>
              <a:t>Subtitle and other information of this presentation</a:t>
            </a:r>
            <a:endParaRPr lang="en-US" dirty="0"/>
          </a:p>
          <a:p>
            <a:pPr lvl="0"/>
            <a:endParaRPr lang="en-US" noProof="0" dirty="0"/>
          </a:p>
        </p:txBody>
      </p:sp>
      <p:sp>
        <p:nvSpPr>
          <p:cNvPr id="11" name="Title 1">
            <a:extLst>
              <a:ext uri="{FF2B5EF4-FFF2-40B4-BE49-F238E27FC236}">
                <a16:creationId xmlns:a16="http://schemas.microsoft.com/office/drawing/2014/main" id="{C511C36E-C346-41C8-99BD-464DE6B36784}"/>
              </a:ext>
            </a:extLst>
          </p:cNvPr>
          <p:cNvSpPr>
            <a:spLocks noGrp="1"/>
          </p:cNvSpPr>
          <p:nvPr>
            <p:ph type="ctrTitle" hasCustomPrompt="1"/>
          </p:nvPr>
        </p:nvSpPr>
        <p:spPr bwMode="gray">
          <a:xfrm>
            <a:off x="5952081" y="1484784"/>
            <a:ext cx="5616521" cy="1249282"/>
          </a:xfrm>
          <a:prstGeom prst="rect">
            <a:avLst/>
          </a:prstGeom>
          <a:noFill/>
        </p:spPr>
        <p:txBody>
          <a:bodyPr anchor="b"/>
          <a:lstStyle>
            <a:lvl1pPr algn="l">
              <a:lnSpc>
                <a:spcPct val="100000"/>
              </a:lnSpc>
              <a:defRPr sz="4000" b="0" cap="none" baseline="0">
                <a:solidFill>
                  <a:schemeClr val="accent1"/>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2" name="Logo Merck">
            <a:extLst>
              <a:ext uri="{FF2B5EF4-FFF2-40B4-BE49-F238E27FC236}">
                <a16:creationId xmlns:a16="http://schemas.microsoft.com/office/drawing/2014/main" id="{7015BF1C-FE3F-4F07-84CF-E77BE8F266B7}"/>
              </a:ext>
            </a:extLst>
          </p:cNvPr>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3" name="Freeform 5">
              <a:extLst>
                <a:ext uri="{FF2B5EF4-FFF2-40B4-BE49-F238E27FC236}">
                  <a16:creationId xmlns:a16="http://schemas.microsoft.com/office/drawing/2014/main" id="{3DBA86E9-33D1-4882-BC69-0F4EAC6A11DA}"/>
                </a:ext>
              </a:extLst>
            </p:cNvPr>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5" name="Freeform 6">
              <a:extLst>
                <a:ext uri="{FF2B5EF4-FFF2-40B4-BE49-F238E27FC236}">
                  <a16:creationId xmlns:a16="http://schemas.microsoft.com/office/drawing/2014/main" id="{BC1BBEA3-A05A-492F-8B42-3F26BA5716EC}"/>
                </a:ext>
              </a:extLst>
            </p:cNvPr>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18" name="Grafik 17">
            <a:extLst>
              <a:ext uri="{FF2B5EF4-FFF2-40B4-BE49-F238E27FC236}">
                <a16:creationId xmlns:a16="http://schemas.microsoft.com/office/drawing/2014/main" id="{31DA3D07-EC06-475E-94F6-884F85B95CA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891"/>
          <a:stretch/>
        </p:blipFill>
        <p:spPr>
          <a:xfrm>
            <a:off x="-1524" y="1484313"/>
            <a:ext cx="5300482" cy="4608512"/>
          </a:xfrm>
          <a:prstGeom prst="rect">
            <a:avLst/>
          </a:prstGeom>
        </p:spPr>
      </p:pic>
    </p:spTree>
    <p:extLst>
      <p:ext uri="{BB962C8B-B14F-4D97-AF65-F5344CB8AC3E}">
        <p14:creationId xmlns:p14="http://schemas.microsoft.com/office/powerpoint/2010/main" val="353181626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accent3"/>
              </a:buClr>
              <a:buFont typeface="+mj-lt"/>
              <a:buAutoNum type="arabicPeriod"/>
              <a:defRPr/>
            </a:lvl1pPr>
            <a:lvl2pPr marL="534988" indent="-179388">
              <a:defRPr/>
            </a:lvl2pPr>
            <a:lvl3pPr marL="715963" indent="-179388">
              <a:defRPr/>
            </a:lvl3pPr>
            <a:lvl4pPr marL="896938" indent="-179388">
              <a:buClr>
                <a:schemeClr val="accent3"/>
              </a:buClr>
              <a:defRPr/>
            </a:lvl4pPr>
            <a:lvl5pPr marL="449263" indent="0">
              <a:buNone/>
              <a:defRPr/>
            </a:lvl5pPr>
          </a:lstStyle>
          <a:p>
            <a:pPr lvl="0"/>
            <a:r>
              <a:rPr lang="en-US" dirty="0"/>
              <a:t>Insert your agenda points here. Use the button “increase list level” to add </a:t>
            </a:r>
            <a:r>
              <a:rPr lang="en-US" dirty="0" err="1"/>
              <a:t>subitems</a:t>
            </a:r>
            <a:r>
              <a:rPr lang="en-US" dirty="0"/>
              <a:t>.</a:t>
            </a:r>
            <a:br>
              <a:rPr lang="en-US" dirty="0"/>
            </a:br>
            <a:r>
              <a:rPr lang="en-US" dirty="0"/>
              <a:t>You can find other agenda designs within the slide library.</a:t>
            </a:r>
          </a:p>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3" name="Title 2"/>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
        <p:nvSpPr>
          <p:cNvPr id="4" name="Fußzeilenplatzhalter 3">
            <a:extLst>
              <a:ext uri="{FF2B5EF4-FFF2-40B4-BE49-F238E27FC236}">
                <a16:creationId xmlns:a16="http://schemas.microsoft.com/office/drawing/2014/main" id="{5F934EA1-1883-4D38-9FDC-7B4EE39EA964}"/>
              </a:ext>
            </a:extLst>
          </p:cNvPr>
          <p:cNvSpPr>
            <a:spLocks noGrp="1"/>
          </p:cNvSpPr>
          <p:nvPr>
            <p:ph type="ftr" sz="quarter" idx="15"/>
          </p:nvPr>
        </p:nvSpPr>
        <p:spPr bwMode="gray"/>
        <p:txBody>
          <a:bodyPr/>
          <a:lstStyle/>
          <a:p>
            <a:endParaRPr lang="en-US" dirty="0"/>
          </a:p>
        </p:txBody>
      </p:sp>
      <p:sp>
        <p:nvSpPr>
          <p:cNvPr id="6" name="Foliennummernplatzhalter 5">
            <a:extLst>
              <a:ext uri="{FF2B5EF4-FFF2-40B4-BE49-F238E27FC236}">
                <a16:creationId xmlns:a16="http://schemas.microsoft.com/office/drawing/2014/main" id="{A9116324-0C1D-439A-912E-27AE05A10F32}"/>
              </a:ext>
            </a:extLst>
          </p:cNvPr>
          <p:cNvSpPr>
            <a:spLocks noGrp="1"/>
          </p:cNvSpPr>
          <p:nvPr>
            <p:ph type="sldNum" sz="quarter" idx="16"/>
          </p:nvPr>
        </p:nvSpPr>
        <p:spPr bwMode="gray"/>
        <p:txBody>
          <a:bodyPr/>
          <a:lstStyle/>
          <a:p>
            <a:fld id="{FD5E7EB4-4CDF-47BB-AF16-07782904B863}" type="slidenum">
              <a:rPr lang="en-US" smtClean="0"/>
              <a:pPr/>
              <a:t>‹N°›</a:t>
            </a:fld>
            <a:endParaRPr lang="en-US" dirty="0"/>
          </a:p>
        </p:txBody>
      </p:sp>
    </p:spTree>
    <p:extLst>
      <p:ext uri="{BB962C8B-B14F-4D97-AF65-F5344CB8AC3E}">
        <p14:creationId xmlns:p14="http://schemas.microsoft.com/office/powerpoint/2010/main" val="232553983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custDataLst>
              <p:tags r:id="rId1"/>
            </p:custDataLst>
          </p:nvPr>
        </p:nvSpPr>
        <p:spPr bwMode="gray">
          <a:xfrm>
            <a:off x="623888" y="730800"/>
            <a:ext cx="10944225" cy="325952"/>
          </a:xfrm>
        </p:spPr>
        <p:txBody>
          <a:bodyPr/>
          <a:lstStyle>
            <a:lvl1pPr>
              <a:defRPr/>
            </a:lvl1pPr>
          </a:lstStyle>
          <a:p>
            <a:r>
              <a:rPr lang="en-US" dirty="0"/>
              <a:t>Insert slide title here (max. 2 lines | max. 1 line with Action Title)</a:t>
            </a:r>
          </a:p>
        </p:txBody>
      </p:sp>
      <p:sp>
        <p:nvSpPr>
          <p:cNvPr id="2" name="Fußzeilenplatzhalter 1">
            <a:extLst>
              <a:ext uri="{FF2B5EF4-FFF2-40B4-BE49-F238E27FC236}">
                <a16:creationId xmlns:a16="http://schemas.microsoft.com/office/drawing/2014/main" id="{2AB8F34D-A5C0-4BC9-B0F3-11856D9ED02E}"/>
              </a:ext>
            </a:extLst>
          </p:cNvPr>
          <p:cNvSpPr>
            <a:spLocks noGrp="1"/>
          </p:cNvSpPr>
          <p:nvPr>
            <p:ph type="ftr" sz="quarter" idx="15"/>
          </p:nvPr>
        </p:nvSpPr>
        <p:spPr bwMode="gray"/>
        <p:txBody>
          <a:bodyPr/>
          <a:lstStyle/>
          <a:p>
            <a:endParaRPr lang="en-US" dirty="0"/>
          </a:p>
        </p:txBody>
      </p:sp>
      <p:sp>
        <p:nvSpPr>
          <p:cNvPr id="3" name="Foliennummernplatzhalter 2">
            <a:extLst>
              <a:ext uri="{FF2B5EF4-FFF2-40B4-BE49-F238E27FC236}">
                <a16:creationId xmlns:a16="http://schemas.microsoft.com/office/drawing/2014/main" id="{C962AE53-FF41-4032-9C92-554890CB3881}"/>
              </a:ext>
            </a:extLst>
          </p:cNvPr>
          <p:cNvSpPr>
            <a:spLocks noGrp="1"/>
          </p:cNvSpPr>
          <p:nvPr>
            <p:ph type="sldNum" sz="quarter" idx="16"/>
          </p:nvPr>
        </p:nvSpPr>
        <p:spPr bwMode="gray"/>
        <p:txBody>
          <a:bodyPr/>
          <a:lstStyle/>
          <a:p>
            <a:fld id="{FD5E7EB4-4CDF-47BB-AF16-07782904B863}" type="slidenum">
              <a:rPr lang="en-US" smtClean="0"/>
              <a:pPr/>
              <a:t>‹N°›</a:t>
            </a:fld>
            <a:endParaRPr lang="en-US" dirty="0"/>
          </a:p>
        </p:txBody>
      </p:sp>
    </p:spTree>
    <p:extLst>
      <p:ext uri="{BB962C8B-B14F-4D97-AF65-F5344CB8AC3E}">
        <p14:creationId xmlns:p14="http://schemas.microsoft.com/office/powerpoint/2010/main" val="93601201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2" name="Title 1"/>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
        <p:nvSpPr>
          <p:cNvPr id="3" name="Fußzeilenplatzhalter 2">
            <a:extLst>
              <a:ext uri="{FF2B5EF4-FFF2-40B4-BE49-F238E27FC236}">
                <a16:creationId xmlns:a16="http://schemas.microsoft.com/office/drawing/2014/main" id="{5DEF66B1-2B35-4F3D-8FA1-45C43C92981D}"/>
              </a:ext>
            </a:extLst>
          </p:cNvPr>
          <p:cNvSpPr>
            <a:spLocks noGrp="1"/>
          </p:cNvSpPr>
          <p:nvPr>
            <p:ph type="ftr" sz="quarter" idx="17"/>
          </p:nvPr>
        </p:nvSpPr>
        <p:spPr bwMode="gray"/>
        <p:txBody>
          <a:bodyPr/>
          <a:lstStyle/>
          <a:p>
            <a:endParaRPr lang="en-US" dirty="0"/>
          </a:p>
        </p:txBody>
      </p:sp>
      <p:sp>
        <p:nvSpPr>
          <p:cNvPr id="4" name="Foliennummernplatzhalter 3">
            <a:extLst>
              <a:ext uri="{FF2B5EF4-FFF2-40B4-BE49-F238E27FC236}">
                <a16:creationId xmlns:a16="http://schemas.microsoft.com/office/drawing/2014/main" id="{6594110D-FB2C-4548-B1FA-4A7EB94F133E}"/>
              </a:ext>
            </a:extLst>
          </p:cNvPr>
          <p:cNvSpPr>
            <a:spLocks noGrp="1"/>
          </p:cNvSpPr>
          <p:nvPr>
            <p:ph type="sldNum" sz="quarter" idx="18"/>
          </p:nvPr>
        </p:nvSpPr>
        <p:spPr bwMode="gray"/>
        <p:txBody>
          <a:bodyPr/>
          <a:lstStyle/>
          <a:p>
            <a:fld id="{FD5E7EB4-4CDF-47BB-AF16-07782904B863}" type="slidenum">
              <a:rPr lang="en-US" smtClean="0"/>
              <a:pPr/>
              <a:t>‹N°›</a:t>
            </a:fld>
            <a:endParaRPr lang="en-US" dirty="0"/>
          </a:p>
        </p:txBody>
      </p:sp>
    </p:spTree>
    <p:extLst>
      <p:ext uri="{BB962C8B-B14F-4D97-AF65-F5344CB8AC3E}">
        <p14:creationId xmlns:p14="http://schemas.microsoft.com/office/powerpoint/2010/main" val="417953995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1"/>
            <a:ext cx="10944225" cy="325952"/>
          </a:xfrm>
        </p:spPr>
        <p:txBody>
          <a:bodyPr/>
          <a:lstStyle/>
          <a:p>
            <a:r>
              <a:rPr lang="en-US" dirty="0"/>
              <a:t>Insert slide title here (max. 2 lines | max. 1 line with Action Title)</a:t>
            </a:r>
          </a:p>
        </p:txBody>
      </p:sp>
      <p:sp>
        <p:nvSpPr>
          <p:cNvPr id="2" name="Fußzeilenplatzhalter 1">
            <a:extLst>
              <a:ext uri="{FF2B5EF4-FFF2-40B4-BE49-F238E27FC236}">
                <a16:creationId xmlns:a16="http://schemas.microsoft.com/office/drawing/2014/main" id="{D1328EC7-157B-409E-AF0F-00B8B6EE2D12}"/>
              </a:ext>
            </a:extLst>
          </p:cNvPr>
          <p:cNvSpPr>
            <a:spLocks noGrp="1"/>
          </p:cNvSpPr>
          <p:nvPr>
            <p:ph type="ftr" sz="quarter" idx="21"/>
          </p:nvPr>
        </p:nvSpPr>
        <p:spPr bwMode="gray"/>
        <p:txBody>
          <a:bodyPr/>
          <a:lstStyle/>
          <a:p>
            <a:endParaRPr lang="en-US" dirty="0"/>
          </a:p>
        </p:txBody>
      </p:sp>
      <p:sp>
        <p:nvSpPr>
          <p:cNvPr id="3" name="Foliennummernplatzhalter 2">
            <a:extLst>
              <a:ext uri="{FF2B5EF4-FFF2-40B4-BE49-F238E27FC236}">
                <a16:creationId xmlns:a16="http://schemas.microsoft.com/office/drawing/2014/main" id="{82B2B86B-BA50-4AE8-98E0-0C5519E10E56}"/>
              </a:ext>
            </a:extLst>
          </p:cNvPr>
          <p:cNvSpPr>
            <a:spLocks noGrp="1"/>
          </p:cNvSpPr>
          <p:nvPr>
            <p:ph type="sldNum" sz="quarter" idx="22"/>
          </p:nvPr>
        </p:nvSpPr>
        <p:spPr bwMode="gray"/>
        <p:txBody>
          <a:bodyPr/>
          <a:lstStyle/>
          <a:p>
            <a:fld id="{FD5E7EB4-4CDF-47BB-AF16-07782904B863}" type="slidenum">
              <a:rPr lang="en-US" smtClean="0"/>
              <a:pPr/>
              <a:t>‹N°›</a:t>
            </a:fld>
            <a:endParaRPr lang="en-US" dirty="0"/>
          </a:p>
        </p:txBody>
      </p:sp>
    </p:spTree>
    <p:extLst>
      <p:ext uri="{BB962C8B-B14F-4D97-AF65-F5344CB8AC3E}">
        <p14:creationId xmlns:p14="http://schemas.microsoft.com/office/powerpoint/2010/main" val="147419286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dirty="0"/>
              <a:t>Insert slide title here (max. 2 lines | max. 1 line with Action Title)</a:t>
            </a:r>
          </a:p>
        </p:txBody>
      </p:sp>
      <p:sp>
        <p:nvSpPr>
          <p:cNvPr id="2" name="Fußzeilenplatzhalter 1">
            <a:extLst>
              <a:ext uri="{FF2B5EF4-FFF2-40B4-BE49-F238E27FC236}">
                <a16:creationId xmlns:a16="http://schemas.microsoft.com/office/drawing/2014/main" id="{DC1A3A0B-4241-4AC5-A07E-A9AC7CC4A1B1}"/>
              </a:ext>
            </a:extLst>
          </p:cNvPr>
          <p:cNvSpPr>
            <a:spLocks noGrp="1"/>
          </p:cNvSpPr>
          <p:nvPr>
            <p:ph type="ftr" sz="quarter" idx="14"/>
          </p:nvPr>
        </p:nvSpPr>
        <p:spPr bwMode="gray"/>
        <p:txBody>
          <a:bodyPr/>
          <a:lstStyle/>
          <a:p>
            <a:endParaRPr lang="en-US" dirty="0"/>
          </a:p>
        </p:txBody>
      </p:sp>
      <p:sp>
        <p:nvSpPr>
          <p:cNvPr id="3" name="Foliennummernplatzhalter 2">
            <a:extLst>
              <a:ext uri="{FF2B5EF4-FFF2-40B4-BE49-F238E27FC236}">
                <a16:creationId xmlns:a16="http://schemas.microsoft.com/office/drawing/2014/main" id="{96E51C11-1DC2-48EC-9664-E7966335E18F}"/>
              </a:ext>
            </a:extLst>
          </p:cNvPr>
          <p:cNvSpPr>
            <a:spLocks noGrp="1"/>
          </p:cNvSpPr>
          <p:nvPr>
            <p:ph type="sldNum" sz="quarter" idx="15"/>
          </p:nvPr>
        </p:nvSpPr>
        <p:spPr bwMode="gray"/>
        <p:txBody>
          <a:bodyPr/>
          <a:lstStyle/>
          <a:p>
            <a:fld id="{FD5E7EB4-4CDF-47BB-AF16-07782904B863}" type="slidenum">
              <a:rPr lang="en-US" smtClean="0"/>
              <a:pPr/>
              <a:t>‹N°›</a:t>
            </a:fld>
            <a:endParaRPr lang="en-US" dirty="0"/>
          </a:p>
        </p:txBody>
      </p:sp>
    </p:spTree>
    <p:extLst>
      <p:ext uri="{BB962C8B-B14F-4D97-AF65-F5344CB8AC3E}">
        <p14:creationId xmlns:p14="http://schemas.microsoft.com/office/powerpoint/2010/main" val="21862816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353" imgH="353" progId="TCLayout.ActiveDocument.1">
                  <p:embed/>
                </p:oleObj>
              </mc:Choice>
              <mc:Fallback>
                <p:oleObj name="think-cell Slide" r:id="rId22" imgW="353" imgH="353"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userDrawn="1"/>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userDrawn="1"/>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userDrawn="1"/>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userDrawn="1"/>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userDrawn="1"/>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userDrawn="1"/>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userDrawn="1"/>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userDrawn="1"/>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userDrawn="1"/>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userDrawn="1"/>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userDrawn="1"/>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userDrawn="1"/>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userDrawn="1"/>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userDrawn="1"/>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userDrawn="1"/>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userDrawn="1"/>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userDrawn="1"/>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userDrawn="1"/>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userDrawn="1"/>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userDrawn="1"/>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userDrawn="1"/>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userDrawn="1"/>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userDrawn="1"/>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userDrawn="1"/>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userDrawn="1"/>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userDrawn="1"/>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userDrawn="1"/>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userDrawn="1"/>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userDrawn="1"/>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userDrawn="1"/>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userDrawn="1"/>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userDrawn="1"/>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userDrawn="1"/>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userDrawn="1"/>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userDrawn="1"/>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userDrawn="1"/>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userDrawn="1"/>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userDrawn="1"/>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userDrawn="1"/>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userDrawn="1"/>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userDrawn="1"/>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userDrawn="1"/>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userDrawn="1"/>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userDrawn="1"/>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userDrawn="1"/>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userDrawn="1"/>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userDrawn="1"/>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userDrawn="1"/>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userDrawn="1"/>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p:cNvSpPr/>
          <p:nvPr userDrawn="1">
            <p:custDataLst>
              <p:tags r:id="rId18"/>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FD5E7EB4-4CDF-47BB-AF16-07782904B863}" type="slidenum">
              <a:rPr lang="en-US" smtClean="0"/>
              <a:pPr/>
              <a:t>‹N°›</a:t>
            </a:fld>
            <a:endParaRPr lang="en-US" dirty="0"/>
          </a:p>
        </p:txBody>
      </p:sp>
      <p:sp>
        <p:nvSpPr>
          <p:cNvPr id="67" name="Footer Placeholder 66"/>
          <p:cNvSpPr>
            <a:spLocks noGrp="1"/>
          </p:cNvSpPr>
          <p:nvPr>
            <p:ph type="ftr" sz="quarter" idx="3"/>
          </p:nvPr>
        </p:nvSpPr>
        <p:spPr bwMode="gray">
          <a:xfrm>
            <a:off x="1272000" y="6380999"/>
            <a:ext cx="8718972"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13" name="Text Placeholder 12"/>
          <p:cNvSpPr>
            <a:spLocks noGrp="1"/>
          </p:cNvSpPr>
          <p:nvPr>
            <p:ph type="body" idx="1"/>
          </p:nvPr>
        </p:nvSpPr>
        <p:spPr bwMode="gray">
          <a:xfrm>
            <a:off x="623888" y="1485000"/>
            <a:ext cx="10944227" cy="460782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3"/>
          <p:cNvSpPr>
            <a:spLocks noGrp="1"/>
          </p:cNvSpPr>
          <p:nvPr>
            <p:ph type="title"/>
          </p:nvPr>
        </p:nvSpPr>
        <p:spPr bwMode="gray">
          <a:xfrm>
            <a:off x="623888" y="404813"/>
            <a:ext cx="10944225" cy="651939"/>
          </a:xfrm>
          <a:prstGeom prst="rect">
            <a:avLst/>
          </a:prstGeom>
          <a:noFill/>
        </p:spPr>
        <p:txBody>
          <a:bodyPr vert="horz" lIns="0" tIns="0" rIns="0" bIns="18000" rtlCol="0" anchor="b" anchorCtr="0">
            <a:noAutofit/>
          </a:bodyPr>
          <a:lstStyle/>
          <a:p>
            <a:pPr lvl="0">
              <a:lnSpc>
                <a:spcPct val="100000"/>
              </a:lnSpc>
            </a:pPr>
            <a:r>
              <a:rPr lang="en-US" noProof="0" dirty="0"/>
              <a:t>Insert slide title here (max. 2 lines | max. 1 line with Action Title)</a:t>
            </a:r>
          </a:p>
        </p:txBody>
      </p:sp>
      <p:grpSp>
        <p:nvGrpSpPr>
          <p:cNvPr id="7" name="Logo Merck"/>
          <p:cNvGrpSpPr>
            <a:grpSpLocks noChangeAspect="1"/>
          </p:cNvGrpSpPr>
          <p:nvPr userDrawn="1">
            <p:custDataLst>
              <p:tags r:id="rId19"/>
            </p:custDataLst>
          </p:nvPr>
        </p:nvGrpSpPr>
        <p:grpSpPr bwMode="gray">
          <a:xfrm>
            <a:off x="10539522" y="6440320"/>
            <a:ext cx="1028592" cy="162000"/>
            <a:chOff x="-4548188" y="3063875"/>
            <a:chExt cx="2741613" cy="431800"/>
          </a:xfrm>
          <a:solidFill>
            <a:schemeClr val="bg2"/>
          </a:solidFill>
        </p:grpSpPr>
        <p:sp>
          <p:nvSpPr>
            <p:cNvPr id="8" name="Logo K"/>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Logo C"/>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Logo 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Logo E"/>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Logo M"/>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empower - DO NOT DELETE!!!"/>
          <p:cNvSpPr/>
          <p:nvPr userDrawn="1">
            <p:custDataLst>
              <p:tags r:id="rId20"/>
            </p:custDataLst>
          </p:nvPr>
        </p:nvSpPr>
        <p:spPr bwMode="gray">
          <a:xfrm>
            <a:off x="-63500" y="-6350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sp>
        <p:nvSpPr>
          <p:cNvPr id="5" name="empower - DO NOT DELETE!!!" hidden="1"/>
          <p:cNvSpPr/>
          <p:nvPr userDrawn="1">
            <p:custDataLst>
              <p:tags r:id="rId21"/>
            </p:custDataLst>
          </p:nvPr>
        </p:nvSpPr>
        <p:spPr bwMode="gray">
          <a:xfrm>
            <a:off x="0" y="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spTree>
    <p:extLst>
      <p:ext uri="{BB962C8B-B14F-4D97-AF65-F5344CB8AC3E}">
        <p14:creationId xmlns:p14="http://schemas.microsoft.com/office/powerpoint/2010/main" val="13319138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l" defTabSz="914400" rtl="0" eaLnBrk="1" latinLnBrk="0" hangingPunct="1">
        <a:lnSpc>
          <a:spcPts val="2400"/>
        </a:lnSpc>
        <a:spcBef>
          <a:spcPct val="0"/>
        </a:spcBef>
        <a:buNone/>
        <a:defRPr lang="de-DE" sz="2200" b="1"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orient="horz" pos="935">
          <p15:clr>
            <a:srgbClr val="F26B43"/>
          </p15:clr>
        </p15:guide>
        <p15:guide id="3" orient="horz" pos="3838">
          <p15:clr>
            <a:srgbClr val="F26B43"/>
          </p15:clr>
        </p15:guide>
        <p15:guide id="4" pos="393">
          <p15:clr>
            <a:srgbClr val="F26B43"/>
          </p15:clr>
        </p15:guide>
        <p15:guide id="5" pos="728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705726" y="404813"/>
            <a:ext cx="7273941" cy="407072"/>
          </a:xfrm>
        </p:spPr>
        <p:txBody>
          <a:bodyPr/>
          <a:lstStyle/>
          <a:p>
            <a:pPr algn="ctr"/>
            <a:r>
              <a:rPr lang="en-US" sz="3200" dirty="0">
                <a:solidFill>
                  <a:srgbClr val="503291"/>
                </a:solidFill>
              </a:rPr>
              <a:t> </a:t>
            </a:r>
            <a:br>
              <a:rPr lang="en-US" sz="3200" dirty="0"/>
            </a:br>
            <a:r>
              <a:rPr lang="en-US" sz="2000" dirty="0">
                <a:solidFill>
                  <a:srgbClr val="EB3C96"/>
                </a:solidFill>
              </a:rPr>
              <a:t>Alternance </a:t>
            </a:r>
            <a:r>
              <a:rPr lang="en-US" sz="2000" dirty="0" err="1">
                <a:solidFill>
                  <a:srgbClr val="EB3C96"/>
                </a:solidFill>
              </a:rPr>
              <a:t>en</a:t>
            </a:r>
            <a:r>
              <a:rPr lang="en-US" sz="2000" dirty="0">
                <a:solidFill>
                  <a:srgbClr val="EB3C96"/>
                </a:solidFill>
              </a:rPr>
              <a:t> Production Upstream </a:t>
            </a:r>
          </a:p>
        </p:txBody>
      </p:sp>
      <p:sp>
        <p:nvSpPr>
          <p:cNvPr id="5" name="Sous-titre 4">
            <a:extLst>
              <a:ext uri="{FF2B5EF4-FFF2-40B4-BE49-F238E27FC236}">
                <a16:creationId xmlns:a16="http://schemas.microsoft.com/office/drawing/2014/main" id="{37287C4C-53D2-4CBB-B340-5DBB0BF1C49B}"/>
              </a:ext>
            </a:extLst>
          </p:cNvPr>
          <p:cNvSpPr>
            <a:spLocks noGrp="1"/>
          </p:cNvSpPr>
          <p:nvPr>
            <p:ph type="subTitle" idx="1"/>
          </p:nvPr>
        </p:nvSpPr>
        <p:spPr>
          <a:xfrm>
            <a:off x="6095957" y="3496396"/>
            <a:ext cx="5760420" cy="2507137"/>
          </a:xfrm>
        </p:spPr>
        <p:txBody>
          <a:bodyPr/>
          <a:lstStyle/>
          <a:p>
            <a:r>
              <a:rPr lang="en-US" dirty="0"/>
              <a:t>Missions : </a:t>
            </a:r>
            <a:r>
              <a:rPr lang="fr-FR" sz="1800" dirty="0">
                <a:effectLst/>
                <a:latin typeface="Calibri" panose="020F0502020204030204" pitchFamily="34" charset="0"/>
              </a:rPr>
              <a:t>formation aux procédés biotechnologiques, suivi et support aux activités de production GMP (déviation, investigation, mise en place d’outils KPI, rédaction de protocole et de rapport de production) ainsi que des projets d’amélioration de procédé (optimisation de pratiques sous flux laminaires), mise en place d'une système de formation terrain.</a:t>
            </a:r>
            <a:endParaRPr lang="en-US" dirty="0"/>
          </a:p>
        </p:txBody>
      </p:sp>
      <p:sp>
        <p:nvSpPr>
          <p:cNvPr id="4" name="Sous-titre 4">
            <a:extLst>
              <a:ext uri="{FF2B5EF4-FFF2-40B4-BE49-F238E27FC236}">
                <a16:creationId xmlns:a16="http://schemas.microsoft.com/office/drawing/2014/main" id="{3B63B16B-E275-4A9E-8112-3E59D1FEBB47}"/>
              </a:ext>
            </a:extLst>
          </p:cNvPr>
          <p:cNvSpPr txBox="1">
            <a:spLocks/>
          </p:cNvSpPr>
          <p:nvPr/>
        </p:nvSpPr>
        <p:spPr bwMode="gray">
          <a:xfrm>
            <a:off x="4974360" y="1253447"/>
            <a:ext cx="6882017" cy="2175553"/>
          </a:xfrm>
          <a:prstGeom prst="rect">
            <a:avLst/>
          </a:prstGeom>
        </p:spPr>
        <p:txBody>
          <a:bodyPr vert="horz" lIns="0" tIns="0" rIns="0" bIns="0" rtlCol="0">
            <a:noAutofit/>
          </a:bodyPr>
          <a:lstStyle>
            <a:lvl1pPr marL="0" indent="0" algn="l" defTabSz="914400" rtl="0" eaLnBrk="1" latinLnBrk="0" hangingPunct="1">
              <a:lnSpc>
                <a:spcPct val="105000"/>
              </a:lnSpc>
              <a:spcBef>
                <a:spcPts val="0"/>
              </a:spcBef>
              <a:spcAft>
                <a:spcPts val="1200"/>
              </a:spcAft>
              <a:buFont typeface="Arial" panose="020B0604020202020204" pitchFamily="34" charset="0"/>
              <a:buNone/>
              <a:defRPr lang="en-US" sz="1400" b="1" i="0" kern="1200" baseline="0">
                <a:solidFill>
                  <a:schemeClr val="accent1"/>
                </a:solidFill>
                <a:latin typeface="+mn-lt"/>
                <a:ea typeface="Verdana" panose="020B0604030504040204" pitchFamily="34" charset="0"/>
                <a:cs typeface="Verdana" panose="020B0604030504040204" pitchFamily="34" charset="0"/>
              </a:defRPr>
            </a:lvl1pPr>
            <a:lvl2pPr marL="0" indent="0" algn="l" defTabSz="914400" rtl="0" eaLnBrk="1" latinLnBrk="0" hangingPunct="1">
              <a:lnSpc>
                <a:spcPct val="105000"/>
              </a:lnSpc>
              <a:spcBef>
                <a:spcPts val="0"/>
              </a:spcBef>
              <a:spcAft>
                <a:spcPts val="1200"/>
              </a:spcAft>
              <a:buClr>
                <a:schemeClr val="accent1"/>
              </a:buClr>
              <a:buFont typeface="Wingdings" panose="05000000000000000000" pitchFamily="2" charset="2"/>
              <a:buNone/>
              <a:defRPr lang="en-US" sz="1400" b="1" kern="1200">
                <a:solidFill>
                  <a:schemeClr val="accent1"/>
                </a:solidFill>
                <a:latin typeface="Verdana" panose="020B0604030504040204" pitchFamily="34" charset="0"/>
                <a:ea typeface="Verdana" panose="020B0604030504040204" pitchFamily="34" charset="0"/>
                <a:cs typeface="Verdana" panose="020B0604030504040204" pitchFamily="34" charset="0"/>
              </a:defRPr>
            </a:lvl2pPr>
            <a:lvl3pPr marL="0" indent="0" algn="l" defTabSz="914400" rtl="0" eaLnBrk="1" latinLnBrk="0" hangingPunct="1">
              <a:lnSpc>
                <a:spcPct val="105000"/>
              </a:lnSpc>
              <a:spcBef>
                <a:spcPts val="0"/>
              </a:spcBef>
              <a:spcAft>
                <a:spcPts val="1200"/>
              </a:spcAft>
              <a:buClr>
                <a:schemeClr val="accent1"/>
              </a:buClr>
              <a:buFont typeface="Symbol" panose="05050102010706020507" pitchFamily="18" charset="2"/>
              <a:buNone/>
              <a:defRPr lang="en-US" sz="1400" b="1" kern="1200">
                <a:solidFill>
                  <a:schemeClr val="accent1"/>
                </a:solidFill>
                <a:latin typeface="Verdana" panose="020B0604030504040204" pitchFamily="34" charset="0"/>
                <a:ea typeface="Verdana" panose="020B0604030504040204" pitchFamily="34" charset="0"/>
                <a:cs typeface="Verdana" panose="020B0604030504040204" pitchFamily="34" charset="0"/>
              </a:defRPr>
            </a:lvl3pPr>
            <a:lvl4pPr marL="0" indent="0" algn="l" defTabSz="914400" rtl="0" eaLnBrk="1" latinLnBrk="0" hangingPunct="1">
              <a:lnSpc>
                <a:spcPct val="105000"/>
              </a:lnSpc>
              <a:spcBef>
                <a:spcPts val="0"/>
              </a:spcBef>
              <a:spcAft>
                <a:spcPts val="1200"/>
              </a:spcAft>
              <a:buClr>
                <a:schemeClr val="accent3"/>
              </a:buClr>
              <a:buFont typeface="Symbol" panose="05050102010706020507" pitchFamily="18" charset="2"/>
              <a:buNone/>
              <a:defRPr lang="en-US" sz="1400" b="1" kern="1200">
                <a:solidFill>
                  <a:schemeClr val="accent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400" rtl="0" eaLnBrk="1" latinLnBrk="0" hangingPunct="1">
              <a:lnSpc>
                <a:spcPct val="105000"/>
              </a:lnSpc>
              <a:spcBef>
                <a:spcPts val="0"/>
              </a:spcBef>
              <a:spcAft>
                <a:spcPts val="1200"/>
              </a:spcAft>
              <a:buClr>
                <a:schemeClr val="accent3"/>
              </a:buClr>
              <a:buFont typeface="Symbol" panose="05050102010706020507" pitchFamily="18" charset="2"/>
              <a:buNone/>
              <a:defRPr lang="de-DE" sz="1400" b="1" kern="1200">
                <a:solidFill>
                  <a:schemeClr val="accent1"/>
                </a:solidFill>
                <a:latin typeface="Verdana" panose="020B0604030504040204" pitchFamily="34" charset="0"/>
                <a:ea typeface="Verdana" panose="020B0604030504040204" pitchFamily="34" charset="0"/>
                <a:cs typeface="Verdana" panose="020B0604030504040204" pitchFamily="34" charset="0"/>
              </a:defRPr>
            </a:lvl5pPr>
            <a:lvl6pPr marL="0" indent="0" algn="l" defTabSz="914400" rtl="0" eaLnBrk="1" latinLnBrk="0" hangingPunct="1">
              <a:lnSpc>
                <a:spcPct val="105000"/>
              </a:lnSpc>
              <a:spcBef>
                <a:spcPts val="0"/>
              </a:spcBef>
              <a:spcAft>
                <a:spcPts val="1200"/>
              </a:spcAft>
              <a:buClr>
                <a:schemeClr val="accent3"/>
              </a:buClr>
              <a:buFont typeface="Symbol" panose="05050102010706020507" pitchFamily="18" charset="2"/>
              <a:buNone/>
              <a:defRPr sz="1400" b="1" kern="1200">
                <a:solidFill>
                  <a:schemeClr val="accent1"/>
                </a:solidFill>
                <a:latin typeface="Verdana" panose="020B0604030504040204" pitchFamily="34" charset="0"/>
                <a:ea typeface="Verdana" panose="020B0604030504040204" pitchFamily="34" charset="0"/>
                <a:cs typeface="Verdana" panose="020B0604030504040204" pitchFamily="34" charset="0"/>
              </a:defRPr>
            </a:lvl6pPr>
            <a:lvl7pPr marL="0" indent="0" algn="l" defTabSz="914400" rtl="0" eaLnBrk="1" latinLnBrk="0" hangingPunct="1">
              <a:lnSpc>
                <a:spcPct val="105000"/>
              </a:lnSpc>
              <a:spcBef>
                <a:spcPts val="0"/>
              </a:spcBef>
              <a:spcAft>
                <a:spcPts val="1200"/>
              </a:spcAft>
              <a:buClr>
                <a:schemeClr val="accent3"/>
              </a:buClr>
              <a:buFont typeface="Symbol" panose="05050102010706020507" pitchFamily="18" charset="2"/>
              <a:buNone/>
              <a:defRPr sz="1400" b="1" kern="1200" baseline="0">
                <a:solidFill>
                  <a:schemeClr val="accent1"/>
                </a:solidFill>
                <a:latin typeface="Verdana" panose="020B0604030504040204" pitchFamily="34" charset="0"/>
                <a:ea typeface="Verdana" panose="020B0604030504040204" pitchFamily="34" charset="0"/>
                <a:cs typeface="Verdana" panose="020B0604030504040204" pitchFamily="34" charset="0"/>
              </a:defRPr>
            </a:lvl7pPr>
            <a:lvl8pPr marL="0" indent="0" algn="l" defTabSz="914400" rtl="0" eaLnBrk="1" latinLnBrk="0" hangingPunct="1">
              <a:lnSpc>
                <a:spcPct val="105000"/>
              </a:lnSpc>
              <a:spcBef>
                <a:spcPts val="0"/>
              </a:spcBef>
              <a:spcAft>
                <a:spcPts val="1200"/>
              </a:spcAft>
              <a:buClr>
                <a:schemeClr val="accent3"/>
              </a:buClr>
              <a:buFont typeface="Symbol" panose="05050102010706020507" pitchFamily="18" charset="2"/>
              <a:buNone/>
              <a:defRPr sz="1400" b="1" kern="1200" baseline="0">
                <a:solidFill>
                  <a:schemeClr val="accent1"/>
                </a:solidFill>
                <a:latin typeface="Verdana" panose="020B0604030504040204" pitchFamily="34" charset="0"/>
                <a:ea typeface="Verdana" panose="020B0604030504040204" pitchFamily="34" charset="0"/>
                <a:cs typeface="Verdana" panose="020B0604030504040204" pitchFamily="34" charset="0"/>
              </a:defRPr>
            </a:lvl8pPr>
            <a:lvl9pPr marL="0" indent="0" algn="l" defTabSz="914400" rtl="0" eaLnBrk="1" latinLnBrk="0" hangingPunct="1">
              <a:lnSpc>
                <a:spcPct val="105000"/>
              </a:lnSpc>
              <a:spcBef>
                <a:spcPts val="0"/>
              </a:spcBef>
              <a:spcAft>
                <a:spcPts val="1200"/>
              </a:spcAft>
              <a:buClr>
                <a:schemeClr val="accent3"/>
              </a:buClr>
              <a:buFont typeface="Symbol" panose="05050102010706020507" pitchFamily="18" charset="2"/>
              <a:buNone/>
              <a:defRPr sz="1400" b="1" kern="1200">
                <a:solidFill>
                  <a:schemeClr val="accent1"/>
                </a:solidFill>
                <a:latin typeface="Verdana" panose="020B0604030504040204" pitchFamily="34" charset="0"/>
                <a:ea typeface="Verdana" panose="020B0604030504040204" pitchFamily="34" charset="0"/>
                <a:cs typeface="Verdana" panose="020B0604030504040204" pitchFamily="34" charset="0"/>
              </a:defRPr>
            </a:lvl9pPr>
          </a:lstStyle>
          <a:p>
            <a:r>
              <a:rPr lang="fr-FR" dirty="0"/>
              <a:t>Entreprise : Merck </a:t>
            </a:r>
            <a:r>
              <a:rPr lang="fr-FR" dirty="0" err="1"/>
              <a:t>Lifescience</a:t>
            </a:r>
            <a:endParaRPr lang="fr-FR" dirty="0"/>
          </a:p>
          <a:p>
            <a:r>
              <a:rPr lang="fr-FR" dirty="0"/>
              <a:t>Activité : CDMO Biotech, Production GMP, Single Use system</a:t>
            </a:r>
          </a:p>
          <a:p>
            <a:r>
              <a:rPr lang="fr-FR" dirty="0"/>
              <a:t>Localisation : Martillac (Gironde)</a:t>
            </a:r>
          </a:p>
          <a:p>
            <a:r>
              <a:rPr lang="fr-FR" dirty="0"/>
              <a:t>Date de l’annonce : juillet 2021</a:t>
            </a:r>
          </a:p>
          <a:p>
            <a:r>
              <a:rPr lang="fr-FR" dirty="0"/>
              <a:t>Profil recherché : Pharmacien / Ingénieur </a:t>
            </a:r>
          </a:p>
          <a:p>
            <a:r>
              <a:rPr lang="fr-FR" dirty="0"/>
              <a:t>Durée : 1 an</a:t>
            </a:r>
          </a:p>
          <a:p>
            <a:endParaRPr lang="fr-FR" dirty="0"/>
          </a:p>
        </p:txBody>
      </p:sp>
      <p:sp>
        <p:nvSpPr>
          <p:cNvPr id="9" name="Sous-titre 4">
            <a:extLst>
              <a:ext uri="{FF2B5EF4-FFF2-40B4-BE49-F238E27FC236}">
                <a16:creationId xmlns:a16="http://schemas.microsoft.com/office/drawing/2014/main" id="{15794DEA-8FA4-4E6E-8AB6-44FA78CDFD73}"/>
              </a:ext>
            </a:extLst>
          </p:cNvPr>
          <p:cNvSpPr txBox="1">
            <a:spLocks/>
          </p:cNvSpPr>
          <p:nvPr/>
        </p:nvSpPr>
        <p:spPr bwMode="gray">
          <a:xfrm>
            <a:off x="7839138" y="5789487"/>
            <a:ext cx="6882017" cy="797960"/>
          </a:xfrm>
          <a:prstGeom prst="rect">
            <a:avLst/>
          </a:prstGeom>
        </p:spPr>
        <p:txBody>
          <a:bodyPr vert="horz" lIns="0" tIns="0" rIns="0" bIns="0" rtlCol="0">
            <a:noAutofit/>
          </a:bodyPr>
          <a:lstStyle>
            <a:lvl1pPr marL="0" indent="0" algn="l" defTabSz="914400" rtl="0" eaLnBrk="1" latinLnBrk="0" hangingPunct="1">
              <a:lnSpc>
                <a:spcPct val="105000"/>
              </a:lnSpc>
              <a:spcBef>
                <a:spcPts val="0"/>
              </a:spcBef>
              <a:spcAft>
                <a:spcPts val="1200"/>
              </a:spcAft>
              <a:buFont typeface="Arial" panose="020B0604020202020204" pitchFamily="34" charset="0"/>
              <a:buNone/>
              <a:defRPr lang="en-US" sz="1400" b="1" i="0" kern="1200" baseline="0">
                <a:solidFill>
                  <a:schemeClr val="accent1"/>
                </a:solidFill>
                <a:latin typeface="+mn-lt"/>
                <a:ea typeface="Verdana" panose="020B0604030504040204" pitchFamily="34" charset="0"/>
                <a:cs typeface="Verdana" panose="020B0604030504040204" pitchFamily="34" charset="0"/>
              </a:defRPr>
            </a:lvl1pPr>
            <a:lvl2pPr marL="0" indent="0" algn="l" defTabSz="914400" rtl="0" eaLnBrk="1" latinLnBrk="0" hangingPunct="1">
              <a:lnSpc>
                <a:spcPct val="105000"/>
              </a:lnSpc>
              <a:spcBef>
                <a:spcPts val="0"/>
              </a:spcBef>
              <a:spcAft>
                <a:spcPts val="1200"/>
              </a:spcAft>
              <a:buClr>
                <a:schemeClr val="accent1"/>
              </a:buClr>
              <a:buFont typeface="Wingdings" panose="05000000000000000000" pitchFamily="2" charset="2"/>
              <a:buNone/>
              <a:defRPr lang="en-US" sz="1400" b="1" kern="1200">
                <a:solidFill>
                  <a:schemeClr val="accent1"/>
                </a:solidFill>
                <a:latin typeface="Verdana" panose="020B0604030504040204" pitchFamily="34" charset="0"/>
                <a:ea typeface="Verdana" panose="020B0604030504040204" pitchFamily="34" charset="0"/>
                <a:cs typeface="Verdana" panose="020B0604030504040204" pitchFamily="34" charset="0"/>
              </a:defRPr>
            </a:lvl2pPr>
            <a:lvl3pPr marL="0" indent="0" algn="l" defTabSz="914400" rtl="0" eaLnBrk="1" latinLnBrk="0" hangingPunct="1">
              <a:lnSpc>
                <a:spcPct val="105000"/>
              </a:lnSpc>
              <a:spcBef>
                <a:spcPts val="0"/>
              </a:spcBef>
              <a:spcAft>
                <a:spcPts val="1200"/>
              </a:spcAft>
              <a:buClr>
                <a:schemeClr val="accent1"/>
              </a:buClr>
              <a:buFont typeface="Symbol" panose="05050102010706020507" pitchFamily="18" charset="2"/>
              <a:buNone/>
              <a:defRPr lang="en-US" sz="1400" b="1" kern="1200">
                <a:solidFill>
                  <a:schemeClr val="accent1"/>
                </a:solidFill>
                <a:latin typeface="Verdana" panose="020B0604030504040204" pitchFamily="34" charset="0"/>
                <a:ea typeface="Verdana" panose="020B0604030504040204" pitchFamily="34" charset="0"/>
                <a:cs typeface="Verdana" panose="020B0604030504040204" pitchFamily="34" charset="0"/>
              </a:defRPr>
            </a:lvl3pPr>
            <a:lvl4pPr marL="0" indent="0" algn="l" defTabSz="914400" rtl="0" eaLnBrk="1" latinLnBrk="0" hangingPunct="1">
              <a:lnSpc>
                <a:spcPct val="105000"/>
              </a:lnSpc>
              <a:spcBef>
                <a:spcPts val="0"/>
              </a:spcBef>
              <a:spcAft>
                <a:spcPts val="1200"/>
              </a:spcAft>
              <a:buClr>
                <a:schemeClr val="accent3"/>
              </a:buClr>
              <a:buFont typeface="Symbol" panose="05050102010706020507" pitchFamily="18" charset="2"/>
              <a:buNone/>
              <a:defRPr lang="en-US" sz="1400" b="1" kern="1200">
                <a:solidFill>
                  <a:schemeClr val="accent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400" rtl="0" eaLnBrk="1" latinLnBrk="0" hangingPunct="1">
              <a:lnSpc>
                <a:spcPct val="105000"/>
              </a:lnSpc>
              <a:spcBef>
                <a:spcPts val="0"/>
              </a:spcBef>
              <a:spcAft>
                <a:spcPts val="1200"/>
              </a:spcAft>
              <a:buClr>
                <a:schemeClr val="accent3"/>
              </a:buClr>
              <a:buFont typeface="Symbol" panose="05050102010706020507" pitchFamily="18" charset="2"/>
              <a:buNone/>
              <a:defRPr lang="de-DE" sz="1400" b="1" kern="1200">
                <a:solidFill>
                  <a:schemeClr val="accent1"/>
                </a:solidFill>
                <a:latin typeface="Verdana" panose="020B0604030504040204" pitchFamily="34" charset="0"/>
                <a:ea typeface="Verdana" panose="020B0604030504040204" pitchFamily="34" charset="0"/>
                <a:cs typeface="Verdana" panose="020B0604030504040204" pitchFamily="34" charset="0"/>
              </a:defRPr>
            </a:lvl5pPr>
            <a:lvl6pPr marL="0" indent="0" algn="l" defTabSz="914400" rtl="0" eaLnBrk="1" latinLnBrk="0" hangingPunct="1">
              <a:lnSpc>
                <a:spcPct val="105000"/>
              </a:lnSpc>
              <a:spcBef>
                <a:spcPts val="0"/>
              </a:spcBef>
              <a:spcAft>
                <a:spcPts val="1200"/>
              </a:spcAft>
              <a:buClr>
                <a:schemeClr val="accent3"/>
              </a:buClr>
              <a:buFont typeface="Symbol" panose="05050102010706020507" pitchFamily="18" charset="2"/>
              <a:buNone/>
              <a:defRPr sz="1400" b="1" kern="1200">
                <a:solidFill>
                  <a:schemeClr val="accent1"/>
                </a:solidFill>
                <a:latin typeface="Verdana" panose="020B0604030504040204" pitchFamily="34" charset="0"/>
                <a:ea typeface="Verdana" panose="020B0604030504040204" pitchFamily="34" charset="0"/>
                <a:cs typeface="Verdana" panose="020B0604030504040204" pitchFamily="34" charset="0"/>
              </a:defRPr>
            </a:lvl6pPr>
            <a:lvl7pPr marL="0" indent="0" algn="l" defTabSz="914400" rtl="0" eaLnBrk="1" latinLnBrk="0" hangingPunct="1">
              <a:lnSpc>
                <a:spcPct val="105000"/>
              </a:lnSpc>
              <a:spcBef>
                <a:spcPts val="0"/>
              </a:spcBef>
              <a:spcAft>
                <a:spcPts val="1200"/>
              </a:spcAft>
              <a:buClr>
                <a:schemeClr val="accent3"/>
              </a:buClr>
              <a:buFont typeface="Symbol" panose="05050102010706020507" pitchFamily="18" charset="2"/>
              <a:buNone/>
              <a:defRPr sz="1400" b="1" kern="1200" baseline="0">
                <a:solidFill>
                  <a:schemeClr val="accent1"/>
                </a:solidFill>
                <a:latin typeface="Verdana" panose="020B0604030504040204" pitchFamily="34" charset="0"/>
                <a:ea typeface="Verdana" panose="020B0604030504040204" pitchFamily="34" charset="0"/>
                <a:cs typeface="Verdana" panose="020B0604030504040204" pitchFamily="34" charset="0"/>
              </a:defRPr>
            </a:lvl7pPr>
            <a:lvl8pPr marL="0" indent="0" algn="l" defTabSz="914400" rtl="0" eaLnBrk="1" latinLnBrk="0" hangingPunct="1">
              <a:lnSpc>
                <a:spcPct val="105000"/>
              </a:lnSpc>
              <a:spcBef>
                <a:spcPts val="0"/>
              </a:spcBef>
              <a:spcAft>
                <a:spcPts val="1200"/>
              </a:spcAft>
              <a:buClr>
                <a:schemeClr val="accent3"/>
              </a:buClr>
              <a:buFont typeface="Symbol" panose="05050102010706020507" pitchFamily="18" charset="2"/>
              <a:buNone/>
              <a:defRPr sz="1400" b="1" kern="1200" baseline="0">
                <a:solidFill>
                  <a:schemeClr val="accent1"/>
                </a:solidFill>
                <a:latin typeface="Verdana" panose="020B0604030504040204" pitchFamily="34" charset="0"/>
                <a:ea typeface="Verdana" panose="020B0604030504040204" pitchFamily="34" charset="0"/>
                <a:cs typeface="Verdana" panose="020B0604030504040204" pitchFamily="34" charset="0"/>
              </a:defRPr>
            </a:lvl8pPr>
            <a:lvl9pPr marL="0" indent="0" algn="l" defTabSz="914400" rtl="0" eaLnBrk="1" latinLnBrk="0" hangingPunct="1">
              <a:lnSpc>
                <a:spcPct val="105000"/>
              </a:lnSpc>
              <a:spcBef>
                <a:spcPts val="0"/>
              </a:spcBef>
              <a:spcAft>
                <a:spcPts val="1200"/>
              </a:spcAft>
              <a:buClr>
                <a:schemeClr val="accent3"/>
              </a:buClr>
              <a:buFont typeface="Symbol" panose="05050102010706020507" pitchFamily="18" charset="2"/>
              <a:buNone/>
              <a:defRPr sz="1400" b="1" kern="1200">
                <a:solidFill>
                  <a:schemeClr val="accent1"/>
                </a:solidFill>
                <a:latin typeface="Verdana" panose="020B0604030504040204" pitchFamily="34" charset="0"/>
                <a:ea typeface="Verdana" panose="020B0604030504040204" pitchFamily="34" charset="0"/>
                <a:cs typeface="Verdana" panose="020B0604030504040204" pitchFamily="34" charset="0"/>
              </a:defRPr>
            </a:lvl9pPr>
          </a:lstStyle>
          <a:p>
            <a:r>
              <a:rPr lang="fr-FR" dirty="0"/>
              <a:t>Contact : ludovic.brunet@merckgroup.com</a:t>
            </a:r>
          </a:p>
        </p:txBody>
      </p:sp>
    </p:spTree>
    <p:extLst>
      <p:ext uri="{BB962C8B-B14F-4D97-AF65-F5344CB8AC3E}">
        <p14:creationId xmlns:p14="http://schemas.microsoft.com/office/powerpoint/2010/main" val="16193818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235,60,150,Dunkel 2"/>
  <p:tag name="MIO_MST_COLOR_4" val="45,190,205,Hell 2"/>
  <p:tag name="MIO_MST_COLOR_5" val="80,50,145,Akzent 1"/>
  <p:tag name="MIO_MST_COLOR_6" val="15,105,175,Akzent 2"/>
  <p:tag name="MIO_MST_COLOR_7" val="165,205,80,Akzent 3"/>
  <p:tag name="MIO_MST_COLOR_8" val="255,200,50,Akzent 4"/>
  <p:tag name="MIO_MST_COLOR_9" val="235,60,150,Akzent 5"/>
  <p:tag name="MIO_MST_COLOR_10" val="20,155,95,Akzent 6"/>
  <p:tag name="MIO_MST_COLOR_11" val="80,50,145,"/>
  <p:tag name="MIO_MST_COLOR_12" val="80,50,145,"/>
  <p:tag name="MIO_PRESI_FIRST_SLIDENUMBER" val="1"/>
  <p:tag name="MIO_FALLBACK_LAYOUT" val="3"/>
  <p:tag name="MIO_SHOW_DATE" val="False"/>
  <p:tag name="MIO_SHOW_FOOTER" val="True"/>
  <p:tag name="MIO_SHOW_PAGENUMBER" val="True"/>
  <p:tag name="MIO_AVOID_BLANK_LAYOUT" val="False"/>
  <p:tag name="MIO_CD_LAYOUT_VALID_AREA" val="False"/>
  <p:tag name="MIO_NUMBER_OF_VALID_LAYOUTS" val="33"/>
  <p:tag name="MIO_HDS" val="True"/>
  <p:tag name="MIO_EK" val="2529"/>
  <p:tag name="MIO_EKGUID" val="4d6beffb-5246-420c-a6d6-d9569b8f0fc9"/>
  <p:tag name="MIO_UPDATE" val="True"/>
  <p:tag name="MIO_VERSION" val="17.02.2017 15:54:53"/>
  <p:tag name="MIO_DBID" val="218709A9-2117-4AF1-A1EA-309C9A305E58"/>
  <p:tag name="MIO_LASTDOWNLOADED" val="24.02.2017 16:22:02"/>
  <p:tag name="MIO_OBJECTNAME" val="Merck EN"/>
  <p:tag name="MIO_LASTEDITORNAME" val="Michaela Kapall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33"/>
  <p:tag name="MIO_HDS" val="True"/>
  <p:tag name="MIO_EK" val="2529"/>
  <p:tag name="MIO_EKGUID" val="4d6beffb-5246-420c-a6d6-d9569b8f0fc9"/>
  <p:tag name="MIO_UPDATE" val="True"/>
  <p:tag name="MIO_VERSION" val="17.02.2017 15:53:25"/>
  <p:tag name="MIO_DBID" val="218709A9-2117-4AF1-A1EA-309C9A305E58"/>
  <p:tag name="MIO_LASTDOWNLOADED" val="17.02.2017 15:53:25"/>
  <p:tag name="MIO_OBJECTNAME" val="Merck EN"/>
  <p:tag name="MIO_LASTEDITORNAME" val="Michaela Kapalla"/>
  <p:tag name="MIO_CDID" val="102a9723-2449-4cb9-a00f-91adf1e6ccc0"/>
  <p:tag name="MIO_PRESI_FIRST_SLIDENUMBER" val="1"/>
</p:tagLst>
</file>

<file path=ppt/tags/tag5.xml><?xml version="1.0" encoding="utf-8"?>
<p:tagLst xmlns:a="http://schemas.openxmlformats.org/drawingml/2006/main" xmlns:r="http://schemas.openxmlformats.org/officeDocument/2006/relationships" xmlns:p="http://schemas.openxmlformats.org/presentationml/2006/main">
  <p:tag name="MIO_EK" val="2529"/>
  <p:tag name="MIO_FALLBACK_LAYOUT" val="9"/>
  <p:tag name="MIO_SHOW_DATE" val="False"/>
  <p:tag name="MIO_SHOW_FOOTER" val="True"/>
  <p:tag name="MIO_SHOW_PAGENUMBER" val="True"/>
  <p:tag name="MIO_AVOID_BLANK_LAYOUT" val="True"/>
  <p:tag name="MIO_CD_LAYOUT_VALID_AREA" val="False"/>
  <p:tag name="MIO_NUMBER_OF_VALID_LAYOUTS" val="13"/>
  <p:tag name="MIO_HDS" val="True"/>
  <p:tag name="MIO_SKIPVERSION" val="01.01.0001 00:00:00"/>
  <p:tag name="MIO_EKGUID" val="11c5800b-041d-42f5-bc40-684993a45881"/>
  <p:tag name="MIO_UPDATE" val="True"/>
  <p:tag name="MIO_VERSION" val="28.03.2019 11:34:09"/>
  <p:tag name="MIO_DBID" val="218709A9-2117-4AF1-A1EA-309C9A305E58"/>
  <p:tag name="MIO_LASTDOWNLOADED" val="04.06.2019 09:17:18"/>
  <p:tag name="MIO_OBJECTNAME" val="Functional"/>
  <p:tag name="MIO_CDID" val="bc9a3d51-52bf-4c5a-8468-59945f9d826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1_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rtl="0" eaLnBrk="1" fontAlgn="auto" hangingPunct="1">
          <a:lnSpc>
            <a:spcPct val="100000"/>
          </a:lnSpc>
          <a:spcBef>
            <a:spcPts val="300"/>
          </a:spcBef>
          <a:spcAft>
            <a:spcPts val="300"/>
          </a:spcAft>
          <a:buClr>
            <a:schemeClr val="bg1"/>
          </a:buClr>
          <a:buSzPct val="100000"/>
          <a:buFont typeface="Arial" panose="020B0604020202020204" pitchFamily="34" charset="0"/>
          <a:buNone/>
          <a:defRPr sz="1600" b="0" i="0" u="none" kern="0" baseline="0" dirty="0" smtClean="0">
            <a:solidFill>
              <a:srgbClr val="FFFFFF"/>
            </a:solidFill>
            <a:latin typeface="Verdana" panose="020B0604030504040204" pitchFamily="34" charset="0"/>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marR="0" algn="l" defTabSz="914400" rtl="0" eaLnBrk="1" fontAlgn="auto" latinLnBrk="0" hangingPunct="1">
          <a:lnSpc>
            <a:spcPct val="100000"/>
          </a:lnSpc>
          <a:spcBef>
            <a:spcPts val="300"/>
          </a:spcBef>
          <a:spcAft>
            <a:spcPts val="300"/>
          </a:spcAft>
          <a:buClr>
            <a:schemeClr val="accent1"/>
          </a:buClr>
          <a:buSzTx/>
          <a:tabLst/>
          <a:defRPr kumimoji="0" sz="16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Vibrant Magenta">
      <a:srgbClr val="EB3C96"/>
    </a:custClr>
    <a:custClr name="Sensitive Pink">
      <a:srgbClr val="E1C3CD"/>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Blue">
      <a:srgbClr val="0F69AF"/>
    </a:custClr>
    <a:custClr name="Vibrant Cyan">
      <a:srgbClr val="2DBECD"/>
    </a:custClr>
    <a:custClr name="Sensitive Blue">
      <a:srgbClr val="96D7D2"/>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Green">
      <a:srgbClr val="149B5F"/>
    </a:custClr>
    <a:custClr name="Vibrant Green">
      <a:srgbClr val="A5CD50"/>
    </a:custClr>
    <a:custClr name="Sensitive Green">
      <a:srgbClr val="B4DC9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Red">
      <a:srgbClr val="E61E50"/>
    </a:custClr>
    <a:custClr name="Vibrant Yellow">
      <a:srgbClr val="FFC832"/>
    </a:custClr>
    <a:custClr name="Sensitive Yellow">
      <a:srgbClr val="FFDCB9"/>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Merck_Functional" id="{914BB65B-4B47-4E5A-B1E9-CDDCCD8B8903}" vid="{16C8DED4-61CD-48A7-B5F9-998554C701FE}"/>
    </a:ext>
  </a:extLst>
</a:theme>
</file>

<file path=docProps/app.xml><?xml version="1.0" encoding="utf-8"?>
<Properties xmlns="http://schemas.openxmlformats.org/officeDocument/2006/extended-properties" xmlns:vt="http://schemas.openxmlformats.org/officeDocument/2006/docPropsVTypes">
  <TotalTime>10</TotalTime>
  <Words>111</Words>
  <Application>Microsoft Office PowerPoint</Application>
  <PresentationFormat>Grand écran</PresentationFormat>
  <Paragraphs>9</Paragraphs>
  <Slides>1</Slides>
  <Notes>0</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1</vt:i4>
      </vt:variant>
    </vt:vector>
  </HeadingPairs>
  <TitlesOfParts>
    <vt:vector size="9" baseType="lpstr">
      <vt:lpstr>Arial</vt:lpstr>
      <vt:lpstr>Calibri</vt:lpstr>
      <vt:lpstr>Merck</vt:lpstr>
      <vt:lpstr>Symbol</vt:lpstr>
      <vt:lpstr>Verdana</vt:lpstr>
      <vt:lpstr>Wingdings</vt:lpstr>
      <vt:lpstr>1_Merck</vt:lpstr>
      <vt:lpstr>think-cell Slide</vt:lpstr>
      <vt:lpstr>  Alternance en Production Upstream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ternance en Production Upstream</dc:title>
  <dc:creator>Lucie Perrault</dc:creator>
  <cp:lastModifiedBy>Lucie Perrault</cp:lastModifiedBy>
  <cp:revision>2</cp:revision>
  <dcterms:created xsi:type="dcterms:W3CDTF">2021-08-23T13:50:31Z</dcterms:created>
  <dcterms:modified xsi:type="dcterms:W3CDTF">2021-08-23T14:00:58Z</dcterms:modified>
</cp:coreProperties>
</file>